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9" r:id="rId4"/>
  </p:sldMasterIdLst>
  <p:notesMasterIdLst>
    <p:notesMasterId r:id="rId89"/>
  </p:notesMasterIdLst>
  <p:sldIdLst>
    <p:sldId id="336" r:id="rId5"/>
    <p:sldId id="303" r:id="rId6"/>
    <p:sldId id="385" r:id="rId7"/>
    <p:sldId id="301" r:id="rId8"/>
    <p:sldId id="339" r:id="rId9"/>
    <p:sldId id="386" r:id="rId10"/>
    <p:sldId id="311" r:id="rId11"/>
    <p:sldId id="256" r:id="rId12"/>
    <p:sldId id="281" r:id="rId13"/>
    <p:sldId id="420" r:id="rId14"/>
    <p:sldId id="421" r:id="rId15"/>
    <p:sldId id="422" r:id="rId16"/>
    <p:sldId id="423" r:id="rId17"/>
    <p:sldId id="425" r:id="rId18"/>
    <p:sldId id="426" r:id="rId19"/>
    <p:sldId id="315" r:id="rId20"/>
    <p:sldId id="428" r:id="rId21"/>
    <p:sldId id="429" r:id="rId22"/>
    <p:sldId id="430" r:id="rId23"/>
    <p:sldId id="431" r:id="rId24"/>
    <p:sldId id="432" r:id="rId25"/>
    <p:sldId id="493" r:id="rId26"/>
    <p:sldId id="435" r:id="rId27"/>
    <p:sldId id="434" r:id="rId28"/>
    <p:sldId id="436" r:id="rId29"/>
    <p:sldId id="440" r:id="rId30"/>
    <p:sldId id="441" r:id="rId31"/>
    <p:sldId id="442" r:id="rId32"/>
    <p:sldId id="443" r:id="rId33"/>
    <p:sldId id="445" r:id="rId34"/>
    <p:sldId id="483" r:id="rId35"/>
    <p:sldId id="397" r:id="rId36"/>
    <p:sldId id="446" r:id="rId37"/>
    <p:sldId id="447" r:id="rId38"/>
    <p:sldId id="450" r:id="rId39"/>
    <p:sldId id="451" r:id="rId40"/>
    <p:sldId id="452" r:id="rId41"/>
    <p:sldId id="453" r:id="rId42"/>
    <p:sldId id="398" r:id="rId43"/>
    <p:sldId id="401" r:id="rId44"/>
    <p:sldId id="455" r:id="rId45"/>
    <p:sldId id="404" r:id="rId46"/>
    <p:sldId id="409" r:id="rId47"/>
    <p:sldId id="406" r:id="rId48"/>
    <p:sldId id="407" r:id="rId49"/>
    <p:sldId id="399" r:id="rId50"/>
    <p:sldId id="456" r:id="rId51"/>
    <p:sldId id="458" r:id="rId52"/>
    <p:sldId id="415" r:id="rId53"/>
    <p:sldId id="411" r:id="rId54"/>
    <p:sldId id="437" r:id="rId55"/>
    <p:sldId id="438" r:id="rId56"/>
    <p:sldId id="439" r:id="rId57"/>
    <p:sldId id="491" r:id="rId58"/>
    <p:sldId id="468" r:id="rId59"/>
    <p:sldId id="459" r:id="rId60"/>
    <p:sldId id="461" r:id="rId61"/>
    <p:sldId id="492" r:id="rId62"/>
    <p:sldId id="470" r:id="rId63"/>
    <p:sldId id="379" r:id="rId64"/>
    <p:sldId id="494" r:id="rId65"/>
    <p:sldId id="307" r:id="rId66"/>
    <p:sldId id="340" r:id="rId67"/>
    <p:sldId id="490" r:id="rId68"/>
    <p:sldId id="471" r:id="rId69"/>
    <p:sldId id="481" r:id="rId70"/>
    <p:sldId id="462" r:id="rId71"/>
    <p:sldId id="463" r:id="rId72"/>
    <p:sldId id="465" r:id="rId73"/>
    <p:sldId id="495" r:id="rId74"/>
    <p:sldId id="472" r:id="rId75"/>
    <p:sldId id="479" r:id="rId76"/>
    <p:sldId id="475" r:id="rId77"/>
    <p:sldId id="476" r:id="rId78"/>
    <p:sldId id="477" r:id="rId79"/>
    <p:sldId id="478" r:id="rId80"/>
    <p:sldId id="496" r:id="rId81"/>
    <p:sldId id="474" r:id="rId82"/>
    <p:sldId id="484" r:id="rId83"/>
    <p:sldId id="486" r:id="rId84"/>
    <p:sldId id="488" r:id="rId85"/>
    <p:sldId id="489" r:id="rId86"/>
    <p:sldId id="383" r:id="rId87"/>
    <p:sldId id="275" r:id="rId88"/>
  </p:sldIdLst>
  <p:sldSz cx="7559675" cy="10691813"/>
  <p:notesSz cx="6858000" cy="9144000"/>
  <p:embeddedFontLst>
    <p:embeddedFont>
      <p:font typeface="Anaheim" pitchFamily="2" charset="77"/>
      <p:regular r:id="rId90"/>
      <p:bold r:id="rId91"/>
    </p:embeddedFont>
    <p:embeddedFont>
      <p:font typeface="Epilogue" pitchFamily="2" charset="77"/>
      <p:regular r:id="rId92"/>
      <p:bold r:id="rId93"/>
      <p:italic r:id="rId94"/>
      <p:boldItalic r:id="rId95"/>
    </p:embeddedFont>
    <p:embeddedFont>
      <p:font typeface="Nunito Light" panose="020F0302020204030204" pitchFamily="34" charset="0"/>
      <p:regular r:id="rId96"/>
      <p:italic r:id="rId97"/>
    </p:embeddedFont>
    <p:embeddedFont>
      <p:font typeface="Sofia Sans" pitchFamily="2" charset="0"/>
      <p:regular r:id="rId98"/>
      <p:bold r:id="rId99"/>
      <p:italic r:id="rId100"/>
      <p:boldItalic r:id="rId101"/>
    </p:embeddedFont>
    <p:embeddedFont>
      <p:font typeface="Times" panose="02020603050405020304" pitchFamily="18" charset="0"/>
      <p:regular r:id="rId102"/>
      <p:bold r:id="rId103"/>
      <p:italic r:id="rId104"/>
      <p:boldItalic r:id="rId105"/>
    </p:embeddedFont>
  </p:embeddedFontLst>
  <p:custDataLst>
    <p:tags r:id="rId10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Intro" id="{B6B7486C-BDB0-4240-99CD-7BEDA7C856F1}">
          <p14:sldIdLst>
            <p14:sldId id="336"/>
            <p14:sldId id="303"/>
            <p14:sldId id="385"/>
            <p14:sldId id="301"/>
            <p14:sldId id="339"/>
            <p14:sldId id="386"/>
            <p14:sldId id="311"/>
          </p14:sldIdLst>
        </p14:section>
        <p14:section name="Chapter 1" id="{4EF93553-C4B9-4E08-9435-6AC76E573B76}">
          <p14:sldIdLst>
            <p14:sldId id="256"/>
            <p14:sldId id="281"/>
          </p14:sldIdLst>
        </p14:section>
        <p14:section name="1 - Challenge!" id="{6B524D0D-3986-46DC-9C56-8EF17A6C8046}">
          <p14:sldIdLst>
            <p14:sldId id="420"/>
            <p14:sldId id="421"/>
            <p14:sldId id="422"/>
            <p14:sldId id="423"/>
            <p14:sldId id="425"/>
            <p14:sldId id="426"/>
          </p14:sldIdLst>
        </p14:section>
        <p14:section name="Chapter 1 - Basics in Hydro Energy" id="{1716A3BD-A40C-491A-A9C0-0E303E4E24B0}">
          <p14:sldIdLst/>
        </p14:section>
        <p14:section name="Rivers" id="{50FE7E47-C0DA-491D-843C-75FDA84F1858}">
          <p14:sldIdLst>
            <p14:sldId id="315"/>
            <p14:sldId id="428"/>
            <p14:sldId id="429"/>
            <p14:sldId id="430"/>
            <p14:sldId id="431"/>
          </p14:sldIdLst>
        </p14:section>
        <p14:section name="Oceans" id="{91814D81-3688-41B7-83DA-4DB87E51AEC9}">
          <p14:sldIdLst>
            <p14:sldId id="432"/>
            <p14:sldId id="493"/>
            <p14:sldId id="435"/>
          </p14:sldIdLst>
        </p14:section>
        <p14:section name="Mountains" id="{CB01134E-1183-4637-A67C-A9D90851E42B}">
          <p14:sldIdLst>
            <p14:sldId id="434"/>
            <p14:sldId id="436"/>
            <p14:sldId id="440"/>
          </p14:sldIdLst>
        </p14:section>
        <p14:section name="Catchment &amp; Basins" id="{8FBEBA25-1AA2-4E49-8DEF-22F35EAD2F7D}">
          <p14:sldIdLst>
            <p14:sldId id="441"/>
            <p14:sldId id="442"/>
            <p14:sldId id="443"/>
          </p14:sldIdLst>
        </p14:section>
        <p14:section name="Challenge - Environmental Impacts Game" id="{35875488-B8AA-4AFC-ACB2-70ED808A25E4}">
          <p14:sldIdLst>
            <p14:sldId id="445"/>
            <p14:sldId id="483"/>
            <p14:sldId id="397"/>
            <p14:sldId id="446"/>
            <p14:sldId id="447"/>
            <p14:sldId id="450"/>
            <p14:sldId id="451"/>
            <p14:sldId id="452"/>
            <p14:sldId id="453"/>
            <p14:sldId id="398"/>
          </p14:sldIdLst>
        </p14:section>
        <p14:section name="Chapter 2: Different Turbine Types" id="{097237DF-A45A-4C2D-9B4A-3125B72D51AE}">
          <p14:sldIdLst>
            <p14:sldId id="401"/>
            <p14:sldId id="455"/>
            <p14:sldId id="404"/>
            <p14:sldId id="409"/>
            <p14:sldId id="406"/>
            <p14:sldId id="407"/>
          </p14:sldIdLst>
        </p14:section>
        <p14:section name="Chapter 2 - Experiment Turbine Types" id="{6D45C35B-596B-44F7-B64C-C10CDBCCC13F}">
          <p14:sldIdLst>
            <p14:sldId id="399"/>
            <p14:sldId id="456"/>
            <p14:sldId id="458"/>
            <p14:sldId id="415"/>
          </p14:sldIdLst>
        </p14:section>
        <p14:section name="Chapter 3 -Factors Affecting Turbine Performance - Pelton Turbine Experiments" id="{D0991A21-780C-9C4C-B91F-0A318C8E9E20}">
          <p14:sldIdLst>
            <p14:sldId id="411"/>
            <p14:sldId id="437"/>
          </p14:sldIdLst>
        </p14:section>
        <p14:section name="Chapter 3 - 1. Effect of volume on the force of water" id="{E2D5152C-0FC6-4C7E-9C84-01BBF31AB343}">
          <p14:sldIdLst>
            <p14:sldId id="438"/>
            <p14:sldId id="439"/>
            <p14:sldId id="491"/>
          </p14:sldIdLst>
        </p14:section>
        <p14:section name="Chapter 3 - 2. Effect of obstacles on the force of water" id="{B44AA1CD-3508-49D1-B1A8-1BD2CE26A9CD}">
          <p14:sldIdLst>
            <p14:sldId id="468"/>
            <p14:sldId id="459"/>
            <p14:sldId id="461"/>
            <p14:sldId id="492"/>
          </p14:sldIdLst>
        </p14:section>
        <p14:section name="Chapter 3 - Hydro-Energy Kit" id="{7F5F5427-F55F-4F07-8522-BE684C62DBFF}">
          <p14:sldIdLst>
            <p14:sldId id="470"/>
            <p14:sldId id="379"/>
            <p14:sldId id="494"/>
            <p14:sldId id="307"/>
            <p14:sldId id="340"/>
          </p14:sldIdLst>
        </p14:section>
        <p14:section name="Chapter 3 - 3. Effect of head height on energy generation" id="{CEEA476A-C9D3-4750-83C5-412EDBD453A0}">
          <p14:sldIdLst>
            <p14:sldId id="490"/>
            <p14:sldId id="471"/>
            <p14:sldId id="481"/>
          </p14:sldIdLst>
        </p14:section>
        <p14:section name="Chapter 4" id="{B7FD0760-CC99-4F19-9B79-56FE0CBFD665}">
          <p14:sldIdLst>
            <p14:sldId id="462"/>
          </p14:sldIdLst>
        </p14:section>
        <p14:section name="4 Baseload &amp; Reliability Rank" id="{09BEC486-3818-4D3A-928C-C265B8F49C3F}">
          <p14:sldIdLst>
            <p14:sldId id="463"/>
            <p14:sldId id="465"/>
            <p14:sldId id="495"/>
          </p14:sldIdLst>
        </p14:section>
        <p14:section name="4 Generation = Demand, Buffers" id="{0D324CCC-63E1-43B4-BE58-DEBE62AA9541}">
          <p14:sldIdLst>
            <p14:sldId id="472"/>
            <p14:sldId id="479"/>
            <p14:sldId id="475"/>
            <p14:sldId id="476"/>
            <p14:sldId id="477"/>
            <p14:sldId id="478"/>
            <p14:sldId id="496"/>
            <p14:sldId id="474"/>
          </p14:sldIdLst>
        </p14:section>
        <p14:section name="Connecting Multiple Resources" id="{33DE3D53-9FE1-448D-9B8D-48C6E0930703}">
          <p14:sldIdLst>
            <p14:sldId id="484"/>
            <p14:sldId id="486"/>
            <p14:sldId id="488"/>
            <p14:sldId id="489"/>
            <p14:sldId id="383"/>
            <p14:sldId id="275"/>
          </p14:sldIdLst>
        </p14:section>
      </p14:sectionLst>
    </p:ext>
    <p:ext uri="{EFAFB233-063F-42B5-8137-9DF3F51BA10A}">
      <p15:sldGuideLst xmlns:p15="http://schemas.microsoft.com/office/powerpoint/2012/main">
        <p15:guide id="1" orient="horz" pos="805" userDrawn="1">
          <p15:clr>
            <a:srgbClr val="747775"/>
          </p15:clr>
        </p15:guide>
        <p15:guide id="2" pos="45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03B108-D729-0B7B-F284-5EB93312FE99}" name="Aly Barakat" initials="AB" userId="S::aly.barakat@tum.de::59442ab7-ba36-4d6f-8096-0727d85e2b9f" providerId="AD"/>
  <p188:author id="{64E6464A-5D97-5117-DC4B-1867B4F10D38}" name="Antje-Lina Weber" initials="AW" userId="S::antje-lina.weber@tum.de::9f4ef15c-448f-435b-bcfd-c1b593e81006" providerId="AD"/>
  <p188:author id="{D1E10BB2-24E6-E7C9-95CA-A4D5C60F7381}" name="Johanna Marx" initials="JM" userId="S::Johanna17.Marx@tum.de::f7883e6b-b8f5-49bd-97ed-29afbba9d34b" providerId="AD"/>
  <p188:author id="{1ED934D9-1AF6-DEB9-071C-2AFB722CF825}" name="Nina Steger" initials="NS" userId="S::nina.steger@tum.de::efda762e-901d-408b-befd-9a071afe53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749C"/>
    <a:srgbClr val="FFFFFF"/>
    <a:srgbClr val="E2E8EF"/>
    <a:srgbClr val="3B5775"/>
    <a:srgbClr val="F0BB90"/>
    <a:srgbClr val="FBEDE1"/>
    <a:srgbClr val="F0E3D8"/>
    <a:srgbClr val="F9E6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7981CF4-4D3E-4045-9ACF-D1447FECE155}">
  <a:tblStyle styleId="{87981CF4-4D3E-4045-9ACF-D1447FECE155}"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0CFADBD-3245-443C-9B6D-9ACBA4CA32A5}"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8073"/>
    <p:restoredTop sz="94658"/>
  </p:normalViewPr>
  <p:slideViewPr>
    <p:cSldViewPr snapToGrid="0">
      <p:cViewPr varScale="1">
        <p:scale>
          <a:sx n="59" d="100"/>
          <a:sy n="59" d="100"/>
        </p:scale>
        <p:origin x="368" y="200"/>
      </p:cViewPr>
      <p:guideLst>
        <p:guide orient="horz" pos="805"/>
        <p:guide pos="45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12" Type="http://schemas.microsoft.com/office/2018/10/relationships/authors" Target="authors.xml"/><Relationship Id="rId16" Type="http://schemas.openxmlformats.org/officeDocument/2006/relationships/slide" Target="slides/slide12.xml"/><Relationship Id="rId107" Type="http://schemas.openxmlformats.org/officeDocument/2006/relationships/presProps" Target="pres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font" Target="fonts/font13.fntdata"/><Relationship Id="rId5" Type="http://schemas.openxmlformats.org/officeDocument/2006/relationships/slide" Target="slides/slide1.xml"/><Relationship Id="rId90" Type="http://schemas.openxmlformats.org/officeDocument/2006/relationships/font" Target="fonts/font1.fntdata"/><Relationship Id="rId95" Type="http://schemas.openxmlformats.org/officeDocument/2006/relationships/font" Target="fonts/font6.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font" Target="fonts/font14.fntdata"/><Relationship Id="rId108"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font" Target="fonts/font2.fntdata"/><Relationship Id="rId96"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5.fntdata"/><Relationship Id="rId99" Type="http://schemas.openxmlformats.org/officeDocument/2006/relationships/font" Target="fonts/font10.fntdata"/><Relationship Id="rId10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8.fntdata"/><Relationship Id="rId104" Type="http://schemas.openxmlformats.org/officeDocument/2006/relationships/font" Target="fonts/font15.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3.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font" Target="fonts/font11.fntdata"/><Relationship Id="rId105"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4.fntdata"/><Relationship Id="rId98" Type="http://schemas.openxmlformats.org/officeDocument/2006/relationships/font" Target="fonts/font9.fntdata"/><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as Rau" userId="S::lukas.rau@tum.de::a75e0523-20be-4fb9-acc6-1a36dfa716c4" providerId="AD" clId="Web-{0DE80AD4-49B0-5932-3034-665560B9133F}"/>
    <pc:docChg chg="modSld">
      <pc:chgData name="Lukas Rau" userId="S::lukas.rau@tum.de::a75e0523-20be-4fb9-acc6-1a36dfa716c4" providerId="AD" clId="Web-{0DE80AD4-49B0-5932-3034-665560B9133F}" dt="2025-01-29T11:19:16.939" v="17" actId="20577"/>
      <pc:docMkLst>
        <pc:docMk/>
      </pc:docMkLst>
      <pc:sldChg chg="modSp">
        <pc:chgData name="Lukas Rau" userId="S::lukas.rau@tum.de::a75e0523-20be-4fb9-acc6-1a36dfa716c4" providerId="AD" clId="Web-{0DE80AD4-49B0-5932-3034-665560B9133F}" dt="2025-01-29T11:19:16.939" v="17" actId="20577"/>
        <pc:sldMkLst>
          <pc:docMk/>
          <pc:sldMk cId="4118735400" sldId="311"/>
        </pc:sldMkLst>
      </pc:sldChg>
      <pc:sldChg chg="modSp">
        <pc:chgData name="Lukas Rau" userId="S::lukas.rau@tum.de::a75e0523-20be-4fb9-acc6-1a36dfa716c4" providerId="AD" clId="Web-{0DE80AD4-49B0-5932-3034-665560B9133F}" dt="2025-01-29T11:17:27.452" v="9" actId="20577"/>
        <pc:sldMkLst>
          <pc:docMk/>
          <pc:sldMk cId="3939354789" sldId="463"/>
        </pc:sldMkLst>
      </pc:sldChg>
      <pc:sldChg chg="modSp">
        <pc:chgData name="Lukas Rau" userId="S::lukas.rau@tum.de::a75e0523-20be-4fb9-acc6-1a36dfa716c4" providerId="AD" clId="Web-{0DE80AD4-49B0-5932-3034-665560B9133F}" dt="2025-01-29T11:17:12.623" v="4" actId="20577"/>
        <pc:sldMkLst>
          <pc:docMk/>
          <pc:sldMk cId="1858285298" sldId="472"/>
        </pc:sldMkLst>
      </pc:sldChg>
    </pc:docChg>
  </pc:docChgLst>
  <pc:docChgLst>
    <pc:chgData name="Lukas Rau" userId="S::lukas.rau@tum.de::a75e0523-20be-4fb9-acc6-1a36dfa716c4" providerId="AD" clId="Web-{17EFAF5F-3A0D-0BFC-28BE-DE7ADB8413EC}"/>
    <pc:docChg chg="modSld">
      <pc:chgData name="Lukas Rau" userId="S::lukas.rau@tum.de::a75e0523-20be-4fb9-acc6-1a36dfa716c4" providerId="AD" clId="Web-{17EFAF5F-3A0D-0BFC-28BE-DE7ADB8413EC}" dt="2024-11-26T15:57:39.283" v="197" actId="20577"/>
      <pc:docMkLst>
        <pc:docMk/>
      </pc:docMkLst>
      <pc:sldChg chg="modSp">
        <pc:chgData name="Lukas Rau" userId="S::lukas.rau@tum.de::a75e0523-20be-4fb9-acc6-1a36dfa716c4" providerId="AD" clId="Web-{17EFAF5F-3A0D-0BFC-28BE-DE7ADB8413EC}" dt="2024-11-26T15:57:14.923" v="196" actId="20577"/>
        <pc:sldMkLst>
          <pc:docMk/>
          <pc:sldMk cId="1183542163" sldId="339"/>
        </pc:sldMkLst>
      </pc:sldChg>
      <pc:sldChg chg="modSp">
        <pc:chgData name="Lukas Rau" userId="S::lukas.rau@tum.de::a75e0523-20be-4fb9-acc6-1a36dfa716c4" providerId="AD" clId="Web-{17EFAF5F-3A0D-0BFC-28BE-DE7ADB8413EC}" dt="2024-11-26T15:57:39.283" v="197" actId="20577"/>
        <pc:sldMkLst>
          <pc:docMk/>
          <pc:sldMk cId="2984851244" sldId="385"/>
        </pc:sldMkLst>
      </pc:sldChg>
      <pc:sldChg chg="modSp">
        <pc:chgData name="Lukas Rau" userId="S::lukas.rau@tum.de::a75e0523-20be-4fb9-acc6-1a36dfa716c4" providerId="AD" clId="Web-{17EFAF5F-3A0D-0BFC-28BE-DE7ADB8413EC}" dt="2024-11-26T15:56:53.219" v="192" actId="20577"/>
        <pc:sldMkLst>
          <pc:docMk/>
          <pc:sldMk cId="1409559676" sldId="386"/>
        </pc:sldMkLst>
      </pc:sldChg>
      <pc:sldChg chg="modSp">
        <pc:chgData name="Lukas Rau" userId="S::lukas.rau@tum.de::a75e0523-20be-4fb9-acc6-1a36dfa716c4" providerId="AD" clId="Web-{17EFAF5F-3A0D-0BFC-28BE-DE7ADB8413EC}" dt="2024-11-26T09:57:36.326" v="42" actId="20577"/>
        <pc:sldMkLst>
          <pc:docMk/>
          <pc:sldMk cId="2079672465" sldId="387"/>
        </pc:sldMkLst>
      </pc:sldChg>
      <pc:sldChg chg="addSp delSp modSp">
        <pc:chgData name="Lukas Rau" userId="S::lukas.rau@tum.de::a75e0523-20be-4fb9-acc6-1a36dfa716c4" providerId="AD" clId="Web-{17EFAF5F-3A0D-0BFC-28BE-DE7ADB8413EC}" dt="2024-11-26T15:11:09.541" v="44" actId="20577"/>
        <pc:sldMkLst>
          <pc:docMk/>
          <pc:sldMk cId="941397807" sldId="391"/>
        </pc:sldMkLst>
      </pc:sldChg>
    </pc:docChg>
  </pc:docChgLst>
  <pc:docChgLst>
    <pc:chgData name="Eva Reißner" userId="69eeba62-a39b-4c77-8010-7e75a3ee4230" providerId="ADAL" clId="{4B9F8846-5D9F-4154-A123-E8BEFEEB9E4C}"/>
    <pc:docChg chg="undo redo custSel addSld delSld modSld sldOrd modMainMaster modSection replTag">
      <pc:chgData name="Eva Reißner" userId="69eeba62-a39b-4c77-8010-7e75a3ee4230" providerId="ADAL" clId="{4B9F8846-5D9F-4154-A123-E8BEFEEB9E4C}" dt="2024-07-17T18:09:05.267" v="7749" actId="1076"/>
      <pc:docMkLst>
        <pc:docMk/>
      </pc:docMkLst>
      <pc:sldChg chg="modSp mod">
        <pc:chgData name="Eva Reißner" userId="69eeba62-a39b-4c77-8010-7e75a3ee4230" providerId="ADAL" clId="{4B9F8846-5D9F-4154-A123-E8BEFEEB9E4C}" dt="2024-07-17T16:32:22.062" v="5311" actId="1035"/>
        <pc:sldMkLst>
          <pc:docMk/>
          <pc:sldMk cId="1601966315" sldId="285"/>
        </pc:sldMkLst>
      </pc:sldChg>
      <pc:sldChg chg="addSp delSp modSp mod">
        <pc:chgData name="Eva Reißner" userId="69eeba62-a39b-4c77-8010-7e75a3ee4230" providerId="ADAL" clId="{4B9F8846-5D9F-4154-A123-E8BEFEEB9E4C}" dt="2024-07-17T16:32:55.144" v="5314" actId="1076"/>
        <pc:sldMkLst>
          <pc:docMk/>
          <pc:sldMk cId="3553033900" sldId="287"/>
        </pc:sldMkLst>
      </pc:sldChg>
      <pc:sldChg chg="addSp delSp modSp del mod">
        <pc:chgData name="Eva Reißner" userId="69eeba62-a39b-4c77-8010-7e75a3ee4230" providerId="ADAL" clId="{4B9F8846-5D9F-4154-A123-E8BEFEEB9E4C}" dt="2024-07-17T16:31:40.546" v="5305" actId="47"/>
        <pc:sldMkLst>
          <pc:docMk/>
          <pc:sldMk cId="3419489590" sldId="288"/>
        </pc:sldMkLst>
      </pc:sldChg>
      <pc:sldChg chg="modSp mod">
        <pc:chgData name="Eva Reißner" userId="69eeba62-a39b-4c77-8010-7e75a3ee4230" providerId="ADAL" clId="{4B9F8846-5D9F-4154-A123-E8BEFEEB9E4C}" dt="2024-07-17T17:05:07.243" v="6591" actId="1036"/>
        <pc:sldMkLst>
          <pc:docMk/>
          <pc:sldMk cId="3909716140" sldId="289"/>
        </pc:sldMkLst>
      </pc:sldChg>
      <pc:sldChg chg="addSp modSp mod">
        <pc:chgData name="Eva Reißner" userId="69eeba62-a39b-4c77-8010-7e75a3ee4230" providerId="ADAL" clId="{4B9F8846-5D9F-4154-A123-E8BEFEEB9E4C}" dt="2024-07-17T17:05:40.194" v="6593" actId="1076"/>
        <pc:sldMkLst>
          <pc:docMk/>
          <pc:sldMk cId="1836807439" sldId="290"/>
        </pc:sldMkLst>
      </pc:sldChg>
      <pc:sldChg chg="addSp modSp mod">
        <pc:chgData name="Eva Reißner" userId="69eeba62-a39b-4c77-8010-7e75a3ee4230" providerId="ADAL" clId="{4B9F8846-5D9F-4154-A123-E8BEFEEB9E4C}" dt="2024-07-17T16:35:05.122" v="5356" actId="1076"/>
        <pc:sldMkLst>
          <pc:docMk/>
          <pc:sldMk cId="3118018366" sldId="291"/>
        </pc:sldMkLst>
      </pc:sldChg>
      <pc:sldChg chg="addSp delSp modSp mod ord">
        <pc:chgData name="Eva Reißner" userId="69eeba62-a39b-4c77-8010-7e75a3ee4230" providerId="ADAL" clId="{4B9F8846-5D9F-4154-A123-E8BEFEEB9E4C}" dt="2024-07-17T16:38:17.095" v="5735"/>
        <pc:sldMkLst>
          <pc:docMk/>
          <pc:sldMk cId="3807836379" sldId="292"/>
        </pc:sldMkLst>
      </pc:sldChg>
      <pc:sldChg chg="addSp delSp modSp mod">
        <pc:chgData name="Eva Reißner" userId="69eeba62-a39b-4c77-8010-7e75a3ee4230" providerId="ADAL" clId="{4B9F8846-5D9F-4154-A123-E8BEFEEB9E4C}" dt="2024-07-17T16:40:31.643" v="5977" actId="1036"/>
        <pc:sldMkLst>
          <pc:docMk/>
          <pc:sldMk cId="3642159981" sldId="294"/>
        </pc:sldMkLst>
      </pc:sldChg>
      <pc:sldChg chg="addSp modSp mod">
        <pc:chgData name="Eva Reißner" userId="69eeba62-a39b-4c77-8010-7e75a3ee4230" providerId="ADAL" clId="{4B9F8846-5D9F-4154-A123-E8BEFEEB9E4C}" dt="2024-07-17T16:26:08.745" v="5199" actId="14100"/>
        <pc:sldMkLst>
          <pc:docMk/>
          <pc:sldMk cId="1360738081" sldId="295"/>
        </pc:sldMkLst>
      </pc:sldChg>
      <pc:sldChg chg="addSp modSp mod">
        <pc:chgData name="Eva Reißner" userId="69eeba62-a39b-4c77-8010-7e75a3ee4230" providerId="ADAL" clId="{4B9F8846-5D9F-4154-A123-E8BEFEEB9E4C}" dt="2024-07-17T16:48:13.307" v="6292" actId="1035"/>
        <pc:sldMkLst>
          <pc:docMk/>
          <pc:sldMk cId="2451751709" sldId="298"/>
        </pc:sldMkLst>
      </pc:sldChg>
      <pc:sldChg chg="modSp mod">
        <pc:chgData name="Eva Reißner" userId="69eeba62-a39b-4c77-8010-7e75a3ee4230" providerId="ADAL" clId="{4B9F8846-5D9F-4154-A123-E8BEFEEB9E4C}" dt="2024-07-17T09:35:56.213" v="4270" actId="20577"/>
        <pc:sldMkLst>
          <pc:docMk/>
          <pc:sldMk cId="855508414" sldId="301"/>
        </pc:sldMkLst>
      </pc:sldChg>
      <pc:sldChg chg="addSp modSp mod">
        <pc:chgData name="Eva Reißner" userId="69eeba62-a39b-4c77-8010-7e75a3ee4230" providerId="ADAL" clId="{4B9F8846-5D9F-4154-A123-E8BEFEEB9E4C}" dt="2024-07-12T08:59:25.797" v="35" actId="20577"/>
        <pc:sldMkLst>
          <pc:docMk/>
          <pc:sldMk cId="1608053785" sldId="303"/>
        </pc:sldMkLst>
      </pc:sldChg>
      <pc:sldChg chg="addSp modSp mod">
        <pc:chgData name="Eva Reißner" userId="69eeba62-a39b-4c77-8010-7e75a3ee4230" providerId="ADAL" clId="{4B9F8846-5D9F-4154-A123-E8BEFEEB9E4C}" dt="2024-07-12T09:02:38.129" v="62"/>
        <pc:sldMkLst>
          <pc:docMk/>
          <pc:sldMk cId="2977954321" sldId="304"/>
        </pc:sldMkLst>
      </pc:sldChg>
      <pc:sldChg chg="modSp mod">
        <pc:chgData name="Eva Reißner" userId="69eeba62-a39b-4c77-8010-7e75a3ee4230" providerId="ADAL" clId="{4B9F8846-5D9F-4154-A123-E8BEFEEB9E4C}" dt="2024-07-17T17:06:23.708" v="6602" actId="14100"/>
        <pc:sldMkLst>
          <pc:docMk/>
          <pc:sldMk cId="1340192637" sldId="305"/>
        </pc:sldMkLst>
      </pc:sldChg>
      <pc:sldChg chg="modSp mod">
        <pc:chgData name="Eva Reißner" userId="69eeba62-a39b-4c77-8010-7e75a3ee4230" providerId="ADAL" clId="{4B9F8846-5D9F-4154-A123-E8BEFEEB9E4C}" dt="2024-07-17T17:06:49.808" v="6614" actId="1035"/>
        <pc:sldMkLst>
          <pc:docMk/>
          <pc:sldMk cId="3109028800" sldId="306"/>
        </pc:sldMkLst>
      </pc:sldChg>
      <pc:sldChg chg="delSp modSp mod">
        <pc:chgData name="Eva Reißner" userId="69eeba62-a39b-4c77-8010-7e75a3ee4230" providerId="ADAL" clId="{4B9F8846-5D9F-4154-A123-E8BEFEEB9E4C}" dt="2024-07-17T16:40:49.795" v="6034" actId="1035"/>
        <pc:sldMkLst>
          <pc:docMk/>
          <pc:sldMk cId="1288072368" sldId="313"/>
        </pc:sldMkLst>
      </pc:sldChg>
      <pc:sldChg chg="delSp modSp mod">
        <pc:chgData name="Eva Reißner" userId="69eeba62-a39b-4c77-8010-7e75a3ee4230" providerId="ADAL" clId="{4B9F8846-5D9F-4154-A123-E8BEFEEB9E4C}" dt="2024-07-17T17:04:12.534" v="6584" actId="478"/>
        <pc:sldMkLst>
          <pc:docMk/>
          <pc:sldMk cId="3420601596" sldId="315"/>
        </pc:sldMkLst>
      </pc:sldChg>
      <pc:sldChg chg="modCm">
        <pc:chgData name="Eva Reißner" userId="69eeba62-a39b-4c77-8010-7e75a3ee4230" providerId="ADAL" clId="{4B9F8846-5D9F-4154-A123-E8BEFEEB9E4C}" dt="2024-07-17T17:10:38.275" v="6615" actId="2056"/>
        <pc:sldMkLst>
          <pc:docMk/>
          <pc:sldMk cId="1126850562" sldId="317"/>
        </pc:sldMkLst>
        <pc:extLst>
          <p:ext xmlns:p="http://schemas.openxmlformats.org/presentationml/2006/main" uri="{D6D511B9-2390-475A-947B-AFAB55BFBCF1}">
            <pc226:cmChg xmlns:pc226="http://schemas.microsoft.com/office/powerpoint/2022/06/main/command" chg="mod">
              <pc226:chgData name="Eva Reißner" userId="69eeba62-a39b-4c77-8010-7e75a3ee4230" providerId="ADAL" clId="{4B9F8846-5D9F-4154-A123-E8BEFEEB9E4C}" dt="2024-07-17T17:10:38.275" v="6615" actId="2056"/>
              <pc2:cmMkLst xmlns:pc2="http://schemas.microsoft.com/office/powerpoint/2019/9/main/command">
                <pc:docMk/>
                <pc:sldMk cId="1126850562" sldId="317"/>
                <pc2:cmMk id="{BC01B87E-690F-46EC-80C3-F27115905BD7}"/>
              </pc2:cmMkLst>
            </pc226:cmChg>
            <pc226:cmChg xmlns:pc226="http://schemas.microsoft.com/office/powerpoint/2022/06/main/command" chg="mod">
              <pc226:chgData name="Eva Reißner" userId="69eeba62-a39b-4c77-8010-7e75a3ee4230" providerId="ADAL" clId="{4B9F8846-5D9F-4154-A123-E8BEFEEB9E4C}" dt="2024-07-17T17:10:38.275" v="6615" actId="2056"/>
              <pc2:cmMkLst xmlns:pc2="http://schemas.microsoft.com/office/powerpoint/2019/9/main/command">
                <pc:docMk/>
                <pc:sldMk cId="1126850562" sldId="317"/>
                <pc2:cmMk id="{0DE0CADC-1697-4306-B606-ACAEDB63640B}"/>
              </pc2:cmMkLst>
            </pc226:cmChg>
          </p:ext>
        </pc:extLst>
      </pc:sldChg>
      <pc:sldChg chg="addSp delSp modSp mod">
        <pc:chgData name="Eva Reißner" userId="69eeba62-a39b-4c77-8010-7e75a3ee4230" providerId="ADAL" clId="{4B9F8846-5D9F-4154-A123-E8BEFEEB9E4C}" dt="2024-07-17T16:45:37.972" v="6167" actId="1036"/>
        <pc:sldMkLst>
          <pc:docMk/>
          <pc:sldMk cId="2685171253" sldId="320"/>
        </pc:sldMkLst>
      </pc:sldChg>
      <pc:sldChg chg="addSp delSp modSp mod">
        <pc:chgData name="Eva Reißner" userId="69eeba62-a39b-4c77-8010-7e75a3ee4230" providerId="ADAL" clId="{4B9F8846-5D9F-4154-A123-E8BEFEEB9E4C}" dt="2024-07-17T16:48:47.092" v="6418" actId="1036"/>
        <pc:sldMkLst>
          <pc:docMk/>
          <pc:sldMk cId="1718109997" sldId="321"/>
        </pc:sldMkLst>
      </pc:sldChg>
      <pc:sldChg chg="delSp modSp mod">
        <pc:chgData name="Eva Reißner" userId="69eeba62-a39b-4c77-8010-7e75a3ee4230" providerId="ADAL" clId="{4B9F8846-5D9F-4154-A123-E8BEFEEB9E4C}" dt="2024-07-17T16:49:01.242" v="6468" actId="1035"/>
        <pc:sldMkLst>
          <pc:docMk/>
          <pc:sldMk cId="16049607" sldId="322"/>
        </pc:sldMkLst>
      </pc:sldChg>
      <pc:sldChg chg="addSp delSp modSp mod">
        <pc:chgData name="Eva Reißner" userId="69eeba62-a39b-4c77-8010-7e75a3ee4230" providerId="ADAL" clId="{4B9F8846-5D9F-4154-A123-E8BEFEEB9E4C}" dt="2024-07-17T16:55:34.441" v="6512" actId="1076"/>
        <pc:sldMkLst>
          <pc:docMk/>
          <pc:sldMk cId="1910569066" sldId="323"/>
        </pc:sldMkLst>
      </pc:sldChg>
      <pc:sldChg chg="addSp modSp mod">
        <pc:chgData name="Eva Reißner" userId="69eeba62-a39b-4c77-8010-7e75a3ee4230" providerId="ADAL" clId="{4B9F8846-5D9F-4154-A123-E8BEFEEB9E4C}" dt="2024-07-17T16:56:08.119" v="6514" actId="1076"/>
        <pc:sldMkLst>
          <pc:docMk/>
          <pc:sldMk cId="2654186392" sldId="327"/>
        </pc:sldMkLst>
      </pc:sldChg>
      <pc:sldChg chg="addSp delSp modSp mod">
        <pc:chgData name="Eva Reißner" userId="69eeba62-a39b-4c77-8010-7e75a3ee4230" providerId="ADAL" clId="{4B9F8846-5D9F-4154-A123-E8BEFEEB9E4C}" dt="2024-07-17T16:50:19.074" v="6471" actId="478"/>
        <pc:sldMkLst>
          <pc:docMk/>
          <pc:sldMk cId="1263294924" sldId="330"/>
        </pc:sldMkLst>
      </pc:sldChg>
      <pc:sldChg chg="modSp mod">
        <pc:chgData name="Eva Reißner" userId="69eeba62-a39b-4c77-8010-7e75a3ee4230" providerId="ADAL" clId="{4B9F8846-5D9F-4154-A123-E8BEFEEB9E4C}" dt="2024-07-17T09:23:24.456" v="3693" actId="20577"/>
        <pc:sldMkLst>
          <pc:docMk/>
          <pc:sldMk cId="3545089216" sldId="331"/>
        </pc:sldMkLst>
      </pc:sldChg>
      <pc:sldChg chg="modSp mod">
        <pc:chgData name="Eva Reißner" userId="69eeba62-a39b-4c77-8010-7e75a3ee4230" providerId="ADAL" clId="{4B9F8846-5D9F-4154-A123-E8BEFEEB9E4C}" dt="2024-07-17T13:08:36.671" v="4553" actId="14100"/>
        <pc:sldMkLst>
          <pc:docMk/>
          <pc:sldMk cId="659666124" sldId="332"/>
        </pc:sldMkLst>
      </pc:sldChg>
      <pc:sldChg chg="addSp modSp mod">
        <pc:chgData name="Eva Reißner" userId="69eeba62-a39b-4c77-8010-7e75a3ee4230" providerId="ADAL" clId="{4B9F8846-5D9F-4154-A123-E8BEFEEB9E4C}" dt="2024-07-17T13:10:59.456" v="4615" actId="14100"/>
        <pc:sldMkLst>
          <pc:docMk/>
          <pc:sldMk cId="1361510755" sldId="333"/>
        </pc:sldMkLst>
      </pc:sldChg>
      <pc:sldChg chg="addSp modSp mod modCm">
        <pc:chgData name="Eva Reißner" userId="69eeba62-a39b-4c77-8010-7e75a3ee4230" providerId="ADAL" clId="{4B9F8846-5D9F-4154-A123-E8BEFEEB9E4C}" dt="2024-07-17T09:36:12.156" v="4292" actId="20577"/>
        <pc:sldMkLst>
          <pc:docMk/>
          <pc:sldMk cId="1558425071" sldId="334"/>
        </pc:sldMkLst>
        <pc:extLst>
          <p:ext xmlns:p="http://schemas.openxmlformats.org/presentationml/2006/main" uri="{D6D511B9-2390-475A-947B-AFAB55BFBCF1}">
            <pc226:cmChg xmlns:pc226="http://schemas.microsoft.com/office/powerpoint/2022/06/main/command" chg="mod">
              <pc226:chgData name="Eva Reißner" userId="69eeba62-a39b-4c77-8010-7e75a3ee4230" providerId="ADAL" clId="{4B9F8846-5D9F-4154-A123-E8BEFEEB9E4C}" dt="2024-07-15T15:12:40.834" v="360" actId="2056"/>
              <pc2:cmMkLst xmlns:pc2="http://schemas.microsoft.com/office/powerpoint/2019/9/main/command">
                <pc:docMk/>
                <pc:sldMk cId="1558425071" sldId="334"/>
                <pc2:cmMk id="{BCD1F6D2-40D6-4754-9F52-D8D471DA546C}"/>
              </pc2:cmMkLst>
            </pc226:cmChg>
          </p:ext>
        </pc:extLst>
      </pc:sldChg>
      <pc:sldChg chg="addSp delSp modSp mod">
        <pc:chgData name="Eva Reißner" userId="69eeba62-a39b-4c77-8010-7e75a3ee4230" providerId="ADAL" clId="{4B9F8846-5D9F-4154-A123-E8BEFEEB9E4C}" dt="2024-07-15T16:08:04.339" v="3450" actId="1076"/>
        <pc:sldMkLst>
          <pc:docMk/>
          <pc:sldMk cId="1183542163" sldId="339"/>
        </pc:sldMkLst>
      </pc:sldChg>
      <pc:sldChg chg="addSp modSp mod">
        <pc:chgData name="Eva Reißner" userId="69eeba62-a39b-4c77-8010-7e75a3ee4230" providerId="ADAL" clId="{4B9F8846-5D9F-4154-A123-E8BEFEEB9E4C}" dt="2024-07-15T14:50:05.474" v="200"/>
        <pc:sldMkLst>
          <pc:docMk/>
          <pc:sldMk cId="1871282574" sldId="340"/>
        </pc:sldMkLst>
      </pc:sldChg>
      <pc:sldChg chg="addSp modSp mod">
        <pc:chgData name="Eva Reißner" userId="69eeba62-a39b-4c77-8010-7e75a3ee4230" providerId="ADAL" clId="{4B9F8846-5D9F-4154-A123-E8BEFEEB9E4C}" dt="2024-07-17T09:22:26.656" v="3662"/>
        <pc:sldMkLst>
          <pc:docMk/>
          <pc:sldMk cId="1127244407" sldId="341"/>
        </pc:sldMkLst>
      </pc:sldChg>
      <pc:sldChg chg="addSp delSp modSp mod">
        <pc:chgData name="Eva Reißner" userId="69eeba62-a39b-4c77-8010-7e75a3ee4230" providerId="ADAL" clId="{4B9F8846-5D9F-4154-A123-E8BEFEEB9E4C}" dt="2024-07-17T15:03:44.150" v="4798"/>
        <pc:sldMkLst>
          <pc:docMk/>
          <pc:sldMk cId="2797522874" sldId="351"/>
        </pc:sldMkLst>
      </pc:sldChg>
      <pc:sldChg chg="addSp modSp mod">
        <pc:chgData name="Eva Reißner" userId="69eeba62-a39b-4c77-8010-7e75a3ee4230" providerId="ADAL" clId="{4B9F8846-5D9F-4154-A123-E8BEFEEB9E4C}" dt="2024-07-17T16:57:19.083" v="6581" actId="1035"/>
        <pc:sldMkLst>
          <pc:docMk/>
          <pc:sldMk cId="160204436" sldId="352"/>
        </pc:sldMkLst>
      </pc:sldChg>
      <pc:sldChg chg="modSp mod">
        <pc:chgData name="Eva Reißner" userId="69eeba62-a39b-4c77-8010-7e75a3ee4230" providerId="ADAL" clId="{4B9F8846-5D9F-4154-A123-E8BEFEEB9E4C}" dt="2024-07-17T09:28:59.696" v="4249" actId="20577"/>
        <pc:sldMkLst>
          <pc:docMk/>
          <pc:sldMk cId="3237785027" sldId="354"/>
        </pc:sldMkLst>
      </pc:sldChg>
      <pc:sldChg chg="modSp mod">
        <pc:chgData name="Eva Reißner" userId="69eeba62-a39b-4c77-8010-7e75a3ee4230" providerId="ADAL" clId="{4B9F8846-5D9F-4154-A123-E8BEFEEB9E4C}" dt="2024-07-17T15:03:16.674" v="4625" actId="20577"/>
        <pc:sldMkLst>
          <pc:docMk/>
          <pc:sldMk cId="1662382075" sldId="367"/>
        </pc:sldMkLst>
      </pc:sldChg>
      <pc:sldChg chg="add del">
        <pc:chgData name="Eva Reißner" userId="69eeba62-a39b-4c77-8010-7e75a3ee4230" providerId="ADAL" clId="{4B9F8846-5D9F-4154-A123-E8BEFEEB9E4C}" dt="2024-07-17T13:02:38.674" v="4296" actId="47"/>
        <pc:sldMkLst>
          <pc:docMk/>
          <pc:sldMk cId="4189404269" sldId="368"/>
        </pc:sldMkLst>
      </pc:sldChg>
      <pc:sldChg chg="modSp add mod">
        <pc:chgData name="Eva Reißner" userId="69eeba62-a39b-4c77-8010-7e75a3ee4230" providerId="ADAL" clId="{4B9F8846-5D9F-4154-A123-E8BEFEEB9E4C}" dt="2024-07-17T13:04:07.545" v="4305" actId="14100"/>
        <pc:sldMkLst>
          <pc:docMk/>
          <pc:sldMk cId="2573843723" sldId="369"/>
        </pc:sldMkLst>
      </pc:sldChg>
      <pc:sldChg chg="add del">
        <pc:chgData name="Eva Reißner" userId="69eeba62-a39b-4c77-8010-7e75a3ee4230" providerId="ADAL" clId="{4B9F8846-5D9F-4154-A123-E8BEFEEB9E4C}" dt="2024-07-17T16:20:49.999" v="5154" actId="47"/>
        <pc:sldMkLst>
          <pc:docMk/>
          <pc:sldMk cId="2153950065" sldId="372"/>
        </pc:sldMkLst>
      </pc:sldChg>
      <pc:sldChg chg="addSp delSp modSp new mod">
        <pc:chgData name="Eva Reißner" userId="69eeba62-a39b-4c77-8010-7e75a3ee4230" providerId="ADAL" clId="{4B9F8846-5D9F-4154-A123-E8BEFEEB9E4C}" dt="2024-07-17T16:31:36.582" v="5304" actId="1036"/>
        <pc:sldMkLst>
          <pc:docMk/>
          <pc:sldMk cId="1237709550" sldId="374"/>
        </pc:sldMkLst>
      </pc:sldChg>
      <pc:sldChg chg="addSp delSp modSp mod">
        <pc:chgData name="Eva Reißner" userId="69eeba62-a39b-4c77-8010-7e75a3ee4230" providerId="ADAL" clId="{4B9F8846-5D9F-4154-A123-E8BEFEEB9E4C}" dt="2024-07-17T17:06:03.143" v="6601" actId="1036"/>
        <pc:sldMkLst>
          <pc:docMk/>
          <pc:sldMk cId="2849113408" sldId="375"/>
        </pc:sldMkLst>
      </pc:sldChg>
      <pc:sldChg chg="addSp delSp modSp mod">
        <pc:chgData name="Eva Reißner" userId="69eeba62-a39b-4c77-8010-7e75a3ee4230" providerId="ADAL" clId="{4B9F8846-5D9F-4154-A123-E8BEFEEB9E4C}" dt="2024-07-17T17:51:57.166" v="7515" actId="20577"/>
        <pc:sldMkLst>
          <pc:docMk/>
          <pc:sldMk cId="3923832735" sldId="378"/>
        </pc:sldMkLst>
      </pc:sldChg>
      <pc:sldChg chg="addSp delSp modSp new mod">
        <pc:chgData name="Eva Reißner" userId="69eeba62-a39b-4c77-8010-7e75a3ee4230" providerId="ADAL" clId="{4B9F8846-5D9F-4154-A123-E8BEFEEB9E4C}" dt="2024-07-17T18:09:05.267" v="7749" actId="1076"/>
        <pc:sldMkLst>
          <pc:docMk/>
          <pc:sldMk cId="2577462896" sldId="380"/>
        </pc:sldMkLst>
      </pc:sldChg>
      <pc:sldChg chg="addSp delSp modSp new mod">
        <pc:chgData name="Eva Reißner" userId="69eeba62-a39b-4c77-8010-7e75a3ee4230" providerId="ADAL" clId="{4B9F8846-5D9F-4154-A123-E8BEFEEB9E4C}" dt="2024-07-17T18:06:54.957" v="7741" actId="1076"/>
        <pc:sldMkLst>
          <pc:docMk/>
          <pc:sldMk cId="1028456503" sldId="382"/>
        </pc:sldMkLst>
      </pc:sldChg>
      <pc:sldMasterChg chg="addSp modSp mod">
        <pc:chgData name="Eva Reißner" userId="69eeba62-a39b-4c77-8010-7e75a3ee4230" providerId="ADAL" clId="{4B9F8846-5D9F-4154-A123-E8BEFEEB9E4C}" dt="2024-07-12T08:58:59.722" v="18"/>
        <pc:sldMasterMkLst>
          <pc:docMk/>
          <pc:sldMasterMk cId="0" sldId="2147483669"/>
        </pc:sldMasterMkLst>
      </pc:sldMasterChg>
    </pc:docChg>
  </pc:docChgLst>
  <pc:docChgLst>
    <pc:chgData name="Lukas Rau" userId="S::lukas.rau@tum.de::a75e0523-20be-4fb9-acc6-1a36dfa716c4" providerId="AD" clId="Web-{296FE8EA-9D02-328A-FFCB-F63721E5AAEA}"/>
    <pc:docChg chg="modSld">
      <pc:chgData name="Lukas Rau" userId="S::lukas.rau@tum.de::a75e0523-20be-4fb9-acc6-1a36dfa716c4" providerId="AD" clId="Web-{296FE8EA-9D02-328A-FFCB-F63721E5AAEA}" dt="2025-01-21T18:18:19.310" v="235" actId="20577"/>
      <pc:docMkLst>
        <pc:docMk/>
      </pc:docMkLst>
      <pc:sldChg chg="modSp">
        <pc:chgData name="Lukas Rau" userId="S::lukas.rau@tum.de::a75e0523-20be-4fb9-acc6-1a36dfa716c4" providerId="AD" clId="Web-{296FE8EA-9D02-328A-FFCB-F63721E5AAEA}" dt="2025-01-21T18:18:05.513" v="232" actId="20577"/>
        <pc:sldMkLst>
          <pc:docMk/>
          <pc:sldMk cId="1003491974" sldId="476"/>
        </pc:sldMkLst>
      </pc:sldChg>
      <pc:sldChg chg="modSp">
        <pc:chgData name="Lukas Rau" userId="S::lukas.rau@tum.de::a75e0523-20be-4fb9-acc6-1a36dfa716c4" providerId="AD" clId="Web-{296FE8EA-9D02-328A-FFCB-F63721E5AAEA}" dt="2025-01-21T18:18:19.310" v="235" actId="20577"/>
        <pc:sldMkLst>
          <pc:docMk/>
          <pc:sldMk cId="3486327106" sldId="477"/>
        </pc:sldMkLst>
      </pc:sldChg>
    </pc:docChg>
  </pc:docChgLst>
  <pc:docChgLst>
    <pc:chgData name="Aly Barakat" userId="S::aly.barakat@tum.de::59442ab7-ba36-4d6f-8096-0727d85e2b9f" providerId="AD" clId="Web-{0314198D-FF82-1D64-3166-7F7ECD6983F0}"/>
    <pc:docChg chg="mod modSld">
      <pc:chgData name="Aly Barakat" userId="S::aly.barakat@tum.de::59442ab7-ba36-4d6f-8096-0727d85e2b9f" providerId="AD" clId="Web-{0314198D-FF82-1D64-3166-7F7ECD6983F0}" dt="2024-07-15T07:51:22.285" v="34"/>
      <pc:docMkLst>
        <pc:docMk/>
      </pc:docMkLst>
    </pc:docChg>
  </pc:docChgLst>
  <pc:docChgLst>
    <pc:chgData name="Aly Barakat" userId="S::aly.barakat@tum.de::59442ab7-ba36-4d6f-8096-0727d85e2b9f" providerId="AD" clId="Web-{CF3B133F-3F0F-1DE4-1F42-C78244F65346}"/>
    <pc:docChg chg="modSld">
      <pc:chgData name="Aly Barakat" userId="S::aly.barakat@tum.de::59442ab7-ba36-4d6f-8096-0727d85e2b9f" providerId="AD" clId="Web-{CF3B133F-3F0F-1DE4-1F42-C78244F65346}" dt="2024-07-12T13:08:16.467" v="0"/>
      <pc:docMkLst>
        <pc:docMk/>
      </pc:docMkLst>
      <pc:sldChg chg="delSp">
        <pc:chgData name="Aly Barakat" userId="S::aly.barakat@tum.de::59442ab7-ba36-4d6f-8096-0727d85e2b9f" providerId="AD" clId="Web-{CF3B133F-3F0F-1DE4-1F42-C78244F65346}" dt="2024-07-12T13:08:16.467" v="0"/>
        <pc:sldMkLst>
          <pc:docMk/>
          <pc:sldMk cId="1263294924" sldId="330"/>
        </pc:sldMkLst>
      </pc:sldChg>
    </pc:docChg>
  </pc:docChgLst>
  <pc:docChgLst>
    <pc:chgData name="Lukas Rau" userId="S::lukas.rau@tum.de::a75e0523-20be-4fb9-acc6-1a36dfa716c4" providerId="AD" clId="Web-{25FF8890-D48A-2637-C6C9-03809D6FA568}"/>
    <pc:docChg chg="modSld">
      <pc:chgData name="Lukas Rau" userId="S::lukas.rau@tum.de::a75e0523-20be-4fb9-acc6-1a36dfa716c4" providerId="AD" clId="Web-{25FF8890-D48A-2637-C6C9-03809D6FA568}" dt="2025-01-28T22:02:58.612" v="13" actId="20577"/>
      <pc:docMkLst>
        <pc:docMk/>
      </pc:docMkLst>
      <pc:sldChg chg="addSp modSp">
        <pc:chgData name="Lukas Rau" userId="S::lukas.rau@tum.de::a75e0523-20be-4fb9-acc6-1a36dfa716c4" providerId="AD" clId="Web-{25FF8890-D48A-2637-C6C9-03809D6FA568}" dt="2025-01-28T22:02:58.612" v="13" actId="20577"/>
        <pc:sldMkLst>
          <pc:docMk/>
          <pc:sldMk cId="1858285298" sldId="472"/>
        </pc:sldMkLst>
      </pc:sldChg>
    </pc:docChg>
  </pc:docChgLst>
  <pc:docChgLst>
    <pc:chgData name="Lukas Rau" userId="a75e0523-20be-4fb9-acc6-1a36dfa716c4" providerId="ADAL" clId="{357CC827-3418-2A44-B67D-2FC69B1C2CDF}"/>
    <pc:docChg chg="undo custSel addSld delSld modSld sldOrd addSection modSection">
      <pc:chgData name="Lukas Rau" userId="a75e0523-20be-4fb9-acc6-1a36dfa716c4" providerId="ADAL" clId="{357CC827-3418-2A44-B67D-2FC69B1C2CDF}" dt="2024-12-03T12:54:40.633" v="11207" actId="2696"/>
      <pc:docMkLst>
        <pc:docMk/>
      </pc:docMkLst>
      <pc:sldChg chg="addSp modSp">
        <pc:chgData name="Lukas Rau" userId="a75e0523-20be-4fb9-acc6-1a36dfa716c4" providerId="ADAL" clId="{357CC827-3418-2A44-B67D-2FC69B1C2CDF}" dt="2024-11-30T14:31:12.163" v="93"/>
        <pc:sldMkLst>
          <pc:docMk/>
          <pc:sldMk cId="1601966315" sldId="285"/>
        </pc:sldMkLst>
      </pc:sldChg>
      <pc:sldChg chg="addSp delSp modSp add mod">
        <pc:chgData name="Lukas Rau" userId="a75e0523-20be-4fb9-acc6-1a36dfa716c4" providerId="ADAL" clId="{357CC827-3418-2A44-B67D-2FC69B1C2CDF}" dt="2024-12-03T12:27:49.281" v="10344" actId="20577"/>
        <pc:sldMkLst>
          <pc:docMk/>
          <pc:sldMk cId="1836807439" sldId="290"/>
        </pc:sldMkLst>
      </pc:sldChg>
      <pc:sldChg chg="modSp mod">
        <pc:chgData name="Lukas Rau" userId="a75e0523-20be-4fb9-acc6-1a36dfa716c4" providerId="ADAL" clId="{357CC827-3418-2A44-B67D-2FC69B1C2CDF}" dt="2024-12-02T13:52:18.503" v="2912" actId="20577"/>
        <pc:sldMkLst>
          <pc:docMk/>
          <pc:sldMk cId="1608053785" sldId="303"/>
        </pc:sldMkLst>
      </pc:sldChg>
      <pc:sldChg chg="modSp mod">
        <pc:chgData name="Lukas Rau" userId="a75e0523-20be-4fb9-acc6-1a36dfa716c4" providerId="ADAL" clId="{357CC827-3418-2A44-B67D-2FC69B1C2CDF}" dt="2024-12-02T15:34:26.010" v="4996" actId="20577"/>
        <pc:sldMkLst>
          <pc:docMk/>
          <pc:sldMk cId="4118735400" sldId="311"/>
        </pc:sldMkLst>
      </pc:sldChg>
      <pc:sldChg chg="modSp mod">
        <pc:chgData name="Lukas Rau" userId="a75e0523-20be-4fb9-acc6-1a36dfa716c4" providerId="ADAL" clId="{357CC827-3418-2A44-B67D-2FC69B1C2CDF}" dt="2024-12-02T13:52:33.489" v="2914" actId="207"/>
        <pc:sldMkLst>
          <pc:docMk/>
          <pc:sldMk cId="2984851244" sldId="385"/>
        </pc:sldMkLst>
      </pc:sldChg>
      <pc:sldChg chg="addSp delSp modSp mod ord">
        <pc:chgData name="Lukas Rau" userId="a75e0523-20be-4fb9-acc6-1a36dfa716c4" providerId="ADAL" clId="{357CC827-3418-2A44-B67D-2FC69B1C2CDF}" dt="2024-12-03T09:53:01.202" v="8031" actId="20577"/>
        <pc:sldMkLst>
          <pc:docMk/>
          <pc:sldMk cId="4004313946" sldId="399"/>
        </pc:sldMkLst>
      </pc:sldChg>
      <pc:sldChg chg="del">
        <pc:chgData name="Lukas Rau" userId="a75e0523-20be-4fb9-acc6-1a36dfa716c4" providerId="ADAL" clId="{357CC827-3418-2A44-B67D-2FC69B1C2CDF}" dt="2024-11-30T14:28:04.999" v="14" actId="2696"/>
        <pc:sldMkLst>
          <pc:docMk/>
          <pc:sldMk cId="3833955182" sldId="400"/>
        </pc:sldMkLst>
      </pc:sldChg>
      <pc:sldChg chg="modSp add mod ord">
        <pc:chgData name="Lukas Rau" userId="a75e0523-20be-4fb9-acc6-1a36dfa716c4" providerId="ADAL" clId="{357CC827-3418-2A44-B67D-2FC69B1C2CDF}" dt="2024-11-30T15:07:39.254" v="1261" actId="20577"/>
        <pc:sldMkLst>
          <pc:docMk/>
          <pc:sldMk cId="2119002428" sldId="401"/>
        </pc:sldMkLst>
      </pc:sldChg>
      <pc:sldChg chg="addSp delSp modSp add mod ord">
        <pc:chgData name="Lukas Rau" userId="a75e0523-20be-4fb9-acc6-1a36dfa716c4" providerId="ADAL" clId="{357CC827-3418-2A44-B67D-2FC69B1C2CDF}" dt="2024-12-02T14:22:57.164" v="3007" actId="1076"/>
        <pc:sldMkLst>
          <pc:docMk/>
          <pc:sldMk cId="3322863499" sldId="402"/>
        </pc:sldMkLst>
      </pc:sldChg>
      <pc:sldChg chg="modSp add mod ord">
        <pc:chgData name="Lukas Rau" userId="a75e0523-20be-4fb9-acc6-1a36dfa716c4" providerId="ADAL" clId="{357CC827-3418-2A44-B67D-2FC69B1C2CDF}" dt="2024-11-30T16:21:05.219" v="2445" actId="20577"/>
        <pc:sldMkLst>
          <pc:docMk/>
          <pc:sldMk cId="1332489482" sldId="403"/>
        </pc:sldMkLst>
      </pc:sldChg>
      <pc:sldChg chg="addSp delSp modSp add mod">
        <pc:chgData name="Lukas Rau" userId="a75e0523-20be-4fb9-acc6-1a36dfa716c4" providerId="ADAL" clId="{357CC827-3418-2A44-B67D-2FC69B1C2CDF}" dt="2024-11-30T15:29:15.675" v="1633"/>
        <pc:sldMkLst>
          <pc:docMk/>
          <pc:sldMk cId="3670737395" sldId="404"/>
        </pc:sldMkLst>
      </pc:sldChg>
      <pc:sldChg chg="delSp modSp add mod ord">
        <pc:chgData name="Lukas Rau" userId="a75e0523-20be-4fb9-acc6-1a36dfa716c4" providerId="ADAL" clId="{357CC827-3418-2A44-B67D-2FC69B1C2CDF}" dt="2024-12-02T18:02:16.522" v="4998" actId="20577"/>
        <pc:sldMkLst>
          <pc:docMk/>
          <pc:sldMk cId="394889806" sldId="405"/>
        </pc:sldMkLst>
      </pc:sldChg>
      <pc:sldChg chg="addSp delSp modSp add mod ord">
        <pc:chgData name="Lukas Rau" userId="a75e0523-20be-4fb9-acc6-1a36dfa716c4" providerId="ADAL" clId="{357CC827-3418-2A44-B67D-2FC69B1C2CDF}" dt="2024-12-03T08:49:01.796" v="7445" actId="20577"/>
        <pc:sldMkLst>
          <pc:docMk/>
          <pc:sldMk cId="3729310544" sldId="406"/>
        </pc:sldMkLst>
      </pc:sldChg>
      <pc:sldChg chg="addSp delSp modSp add mod ord">
        <pc:chgData name="Lukas Rau" userId="a75e0523-20be-4fb9-acc6-1a36dfa716c4" providerId="ADAL" clId="{357CC827-3418-2A44-B67D-2FC69B1C2CDF}" dt="2024-12-03T08:54:42.687" v="7874" actId="20577"/>
        <pc:sldMkLst>
          <pc:docMk/>
          <pc:sldMk cId="71582575" sldId="407"/>
        </pc:sldMkLst>
      </pc:sldChg>
      <pc:sldChg chg="delSp modSp add del mod">
        <pc:chgData name="Lukas Rau" userId="a75e0523-20be-4fb9-acc6-1a36dfa716c4" providerId="ADAL" clId="{357CC827-3418-2A44-B67D-2FC69B1C2CDF}" dt="2024-12-03T12:54:40.633" v="11207" actId="2696"/>
        <pc:sldMkLst>
          <pc:docMk/>
          <pc:sldMk cId="3233590128" sldId="408"/>
        </pc:sldMkLst>
      </pc:sldChg>
      <pc:sldChg chg="addSp modSp add mod ord">
        <pc:chgData name="Lukas Rau" userId="a75e0523-20be-4fb9-acc6-1a36dfa716c4" providerId="ADAL" clId="{357CC827-3418-2A44-B67D-2FC69B1C2CDF}" dt="2024-12-02T18:25:57.884" v="5259" actId="1076"/>
        <pc:sldMkLst>
          <pc:docMk/>
          <pc:sldMk cId="515090417" sldId="409"/>
        </pc:sldMkLst>
      </pc:sldChg>
      <pc:sldChg chg="delSp modSp add del mod">
        <pc:chgData name="Lukas Rau" userId="a75e0523-20be-4fb9-acc6-1a36dfa716c4" providerId="ADAL" clId="{357CC827-3418-2A44-B67D-2FC69B1C2CDF}" dt="2024-11-30T16:30:40.168" v="2801" actId="2696"/>
        <pc:sldMkLst>
          <pc:docMk/>
          <pc:sldMk cId="3451294982" sldId="410"/>
        </pc:sldMkLst>
      </pc:sldChg>
      <pc:sldChg chg="modSp add mod ord">
        <pc:chgData name="Lukas Rau" userId="a75e0523-20be-4fb9-acc6-1a36dfa716c4" providerId="ADAL" clId="{357CC827-3418-2A44-B67D-2FC69B1C2CDF}" dt="2024-11-30T16:30:20.942" v="2798" actId="20577"/>
        <pc:sldMkLst>
          <pc:docMk/>
          <pc:sldMk cId="2383461224" sldId="411"/>
        </pc:sldMkLst>
      </pc:sldChg>
      <pc:sldChg chg="addSp delSp modSp add mod">
        <pc:chgData name="Lukas Rau" userId="a75e0523-20be-4fb9-acc6-1a36dfa716c4" providerId="ADAL" clId="{357CC827-3418-2A44-B67D-2FC69B1C2CDF}" dt="2024-12-03T08:49:33.358" v="7466" actId="20577"/>
        <pc:sldMkLst>
          <pc:docMk/>
          <pc:sldMk cId="3070893580" sldId="412"/>
        </pc:sldMkLst>
      </pc:sldChg>
      <pc:sldChg chg="modSp add mod ord">
        <pc:chgData name="Lukas Rau" userId="a75e0523-20be-4fb9-acc6-1a36dfa716c4" providerId="ADAL" clId="{357CC827-3418-2A44-B67D-2FC69B1C2CDF}" dt="2024-12-03T09:53:22.977" v="8032" actId="20578"/>
        <pc:sldMkLst>
          <pc:docMk/>
          <pc:sldMk cId="2642767501" sldId="413"/>
        </pc:sldMkLst>
      </pc:sldChg>
      <pc:sldChg chg="addSp delSp modSp add mod">
        <pc:chgData name="Lukas Rau" userId="a75e0523-20be-4fb9-acc6-1a36dfa716c4" providerId="ADAL" clId="{357CC827-3418-2A44-B67D-2FC69B1C2CDF}" dt="2024-12-03T09:59:33.767" v="8173" actId="20577"/>
        <pc:sldMkLst>
          <pc:docMk/>
          <pc:sldMk cId="3920604443" sldId="414"/>
        </pc:sldMkLst>
      </pc:sldChg>
      <pc:sldChg chg="addSp delSp modSp add mod ord">
        <pc:chgData name="Lukas Rau" userId="a75e0523-20be-4fb9-acc6-1a36dfa716c4" providerId="ADAL" clId="{357CC827-3418-2A44-B67D-2FC69B1C2CDF}" dt="2024-12-03T12:52:48.175" v="11206" actId="1076"/>
        <pc:sldMkLst>
          <pc:docMk/>
          <pc:sldMk cId="2222115458" sldId="415"/>
        </pc:sldMkLst>
      </pc:sldChg>
      <pc:sldChg chg="addSp delSp modSp add mod">
        <pc:chgData name="Lukas Rau" userId="a75e0523-20be-4fb9-acc6-1a36dfa716c4" providerId="ADAL" clId="{357CC827-3418-2A44-B67D-2FC69B1C2CDF}" dt="2024-12-03T12:19:30.460" v="9894" actId="1076"/>
        <pc:sldMkLst>
          <pc:docMk/>
          <pc:sldMk cId="2962154031" sldId="416"/>
        </pc:sldMkLst>
      </pc:sldChg>
      <pc:sldChg chg="addSp delSp modSp add mod">
        <pc:chgData name="Lukas Rau" userId="a75e0523-20be-4fb9-acc6-1a36dfa716c4" providerId="ADAL" clId="{357CC827-3418-2A44-B67D-2FC69B1C2CDF}" dt="2024-12-03T12:27:59.065" v="10346" actId="20577"/>
        <pc:sldMkLst>
          <pc:docMk/>
          <pc:sldMk cId="1174880530" sldId="417"/>
        </pc:sldMkLst>
      </pc:sldChg>
      <pc:sldChg chg="addSp delSp modSp add mod">
        <pc:chgData name="Lukas Rau" userId="a75e0523-20be-4fb9-acc6-1a36dfa716c4" providerId="ADAL" clId="{357CC827-3418-2A44-B67D-2FC69B1C2CDF}" dt="2024-12-03T12:52:30.140" v="11204" actId="1076"/>
        <pc:sldMkLst>
          <pc:docMk/>
          <pc:sldMk cId="1895860218" sldId="418"/>
        </pc:sldMkLst>
      </pc:sldChg>
    </pc:docChg>
  </pc:docChgLst>
  <pc:docChgLst>
    <pc:chgData name="Lukas Rau" userId="S::lukas.rau@tum.de::a75e0523-20be-4fb9-acc6-1a36dfa716c4" providerId="AD" clId="Web-{D23B3AE0-A68E-AD41-A882-1C69F2914A1E}"/>
    <pc:docChg chg="addSld modSld modSection">
      <pc:chgData name="Lukas Rau" userId="S::lukas.rau@tum.de::a75e0523-20be-4fb9-acc6-1a36dfa716c4" providerId="AD" clId="Web-{D23B3AE0-A68E-AD41-A882-1C69F2914A1E}" dt="2024-11-18T13:09:39.853" v="63" actId="20577"/>
      <pc:docMkLst>
        <pc:docMk/>
      </pc:docMkLst>
      <pc:sldChg chg="modSp">
        <pc:chgData name="Lukas Rau" userId="S::lukas.rau@tum.de::a75e0523-20be-4fb9-acc6-1a36dfa716c4" providerId="AD" clId="Web-{D23B3AE0-A68E-AD41-A882-1C69F2914A1E}" dt="2024-11-18T13:08:42.649" v="57" actId="20577"/>
        <pc:sldMkLst>
          <pc:docMk/>
          <pc:sldMk cId="1608053785" sldId="303"/>
        </pc:sldMkLst>
      </pc:sldChg>
      <pc:sldChg chg="addSp delSp modSp add replId">
        <pc:chgData name="Lukas Rau" userId="S::lukas.rau@tum.de::a75e0523-20be-4fb9-acc6-1a36dfa716c4" providerId="AD" clId="Web-{D23B3AE0-A68E-AD41-A882-1C69F2914A1E}" dt="2024-11-18T13:08:46.758" v="59" actId="20577"/>
        <pc:sldMkLst>
          <pc:docMk/>
          <pc:sldMk cId="2984851244" sldId="385"/>
        </pc:sldMkLst>
      </pc:sldChg>
      <pc:sldChg chg="addSp delSp modSp add replId">
        <pc:chgData name="Lukas Rau" userId="S::lukas.rau@tum.de::a75e0523-20be-4fb9-acc6-1a36dfa716c4" providerId="AD" clId="Web-{D23B3AE0-A68E-AD41-A882-1C69F2914A1E}" dt="2024-11-18T13:09:39.853" v="63" actId="20577"/>
        <pc:sldMkLst>
          <pc:docMk/>
          <pc:sldMk cId="1409559676" sldId="386"/>
        </pc:sldMkLst>
      </pc:sldChg>
    </pc:docChg>
  </pc:docChgLst>
  <pc:docChgLst>
    <pc:chgData name="Lukas Rau" userId="S::lukas.rau@tum.de::a75e0523-20be-4fb9-acc6-1a36dfa716c4" providerId="AD" clId="Web-{072ECA23-DD3C-7966-F7C8-F1FD3B0609DF}"/>
    <pc:docChg chg="addSld modSld sldOrd addSection modSection">
      <pc:chgData name="Lukas Rau" userId="S::lukas.rau@tum.de::a75e0523-20be-4fb9-acc6-1a36dfa716c4" providerId="AD" clId="Web-{072ECA23-DD3C-7966-F7C8-F1FD3B0609DF}" dt="2024-11-30T14:22:08.357" v="31" actId="1076"/>
      <pc:docMkLst>
        <pc:docMk/>
      </pc:docMkLst>
      <pc:sldChg chg="delSp modSp add ord replId">
        <pc:chgData name="Lukas Rau" userId="S::lukas.rau@tum.de::a75e0523-20be-4fb9-acc6-1a36dfa716c4" providerId="AD" clId="Web-{072ECA23-DD3C-7966-F7C8-F1FD3B0609DF}" dt="2024-11-30T14:00:21.141" v="9"/>
        <pc:sldMkLst>
          <pc:docMk/>
          <pc:sldMk cId="4004313946" sldId="399"/>
        </pc:sldMkLst>
      </pc:sldChg>
      <pc:sldChg chg="addSp delSp modSp add ord replId">
        <pc:chgData name="Lukas Rau" userId="S::lukas.rau@tum.de::a75e0523-20be-4fb9-acc6-1a36dfa716c4" providerId="AD" clId="Web-{072ECA23-DD3C-7966-F7C8-F1FD3B0609DF}" dt="2024-11-30T14:22:08.357" v="31" actId="1076"/>
        <pc:sldMkLst>
          <pc:docMk/>
          <pc:sldMk cId="3833955182" sldId="400"/>
        </pc:sldMkLst>
      </pc:sldChg>
    </pc:docChg>
  </pc:docChgLst>
  <pc:docChgLst>
    <pc:chgData name="Johanna Marx" userId="f7883e6b-b8f5-49bd-97ed-29afbba9d34b" providerId="ADAL" clId="{458BE4F6-BDC1-4A79-8D38-12A6FFFE4F58}"/>
    <pc:docChg chg="undo redo custSel addSld delSld modSld modSection">
      <pc:chgData name="Johanna Marx" userId="f7883e6b-b8f5-49bd-97ed-29afbba9d34b" providerId="ADAL" clId="{458BE4F6-BDC1-4A79-8D38-12A6FFFE4F58}" dt="2025-02-02T13:46:14.516" v="3147"/>
      <pc:docMkLst>
        <pc:docMk/>
      </pc:docMkLst>
      <pc:sldChg chg="modSp mod">
        <pc:chgData name="Johanna Marx" userId="f7883e6b-b8f5-49bd-97ed-29afbba9d34b" providerId="ADAL" clId="{458BE4F6-BDC1-4A79-8D38-12A6FFFE4F58}" dt="2025-02-02T12:32:37.768" v="2527" actId="108"/>
        <pc:sldMkLst>
          <pc:docMk/>
          <pc:sldMk cId="2457093950" sldId="281"/>
        </pc:sldMkLst>
      </pc:sldChg>
      <pc:sldChg chg="delSp modSp mod">
        <pc:chgData name="Johanna Marx" userId="f7883e6b-b8f5-49bd-97ed-29afbba9d34b" providerId="ADAL" clId="{458BE4F6-BDC1-4A79-8D38-12A6FFFE4F58}" dt="2025-02-02T12:25:14.563" v="2427" actId="14100"/>
        <pc:sldMkLst>
          <pc:docMk/>
          <pc:sldMk cId="855508414" sldId="301"/>
        </pc:sldMkLst>
      </pc:sldChg>
      <pc:sldChg chg="addSp modSp mod">
        <pc:chgData name="Johanna Marx" userId="f7883e6b-b8f5-49bd-97ed-29afbba9d34b" providerId="ADAL" clId="{458BE4F6-BDC1-4A79-8D38-12A6FFFE4F58}" dt="2025-02-02T13:45:53.011" v="3145"/>
        <pc:sldMkLst>
          <pc:docMk/>
          <pc:sldMk cId="1608053785" sldId="303"/>
        </pc:sldMkLst>
      </pc:sldChg>
      <pc:sldChg chg="modSp mod">
        <pc:chgData name="Johanna Marx" userId="f7883e6b-b8f5-49bd-97ed-29afbba9d34b" providerId="ADAL" clId="{458BE4F6-BDC1-4A79-8D38-12A6FFFE4F58}" dt="2025-02-02T13:06:34.950" v="2982" actId="108"/>
        <pc:sldMkLst>
          <pc:docMk/>
          <pc:sldMk cId="656948936" sldId="307"/>
        </pc:sldMkLst>
      </pc:sldChg>
      <pc:sldChg chg="modSp mod">
        <pc:chgData name="Johanna Marx" userId="f7883e6b-b8f5-49bd-97ed-29afbba9d34b" providerId="ADAL" clId="{458BE4F6-BDC1-4A79-8D38-12A6FFFE4F58}" dt="2025-02-02T12:32:07.542" v="2525" actId="108"/>
        <pc:sldMkLst>
          <pc:docMk/>
          <pc:sldMk cId="4118735400" sldId="311"/>
        </pc:sldMkLst>
      </pc:sldChg>
      <pc:sldChg chg="modSp mod">
        <pc:chgData name="Johanna Marx" userId="f7883e6b-b8f5-49bd-97ed-29afbba9d34b" providerId="ADAL" clId="{458BE4F6-BDC1-4A79-8D38-12A6FFFE4F58}" dt="2025-02-02T12:42:19.045" v="2701" actId="14100"/>
        <pc:sldMkLst>
          <pc:docMk/>
          <pc:sldMk cId="3420601596" sldId="315"/>
        </pc:sldMkLst>
      </pc:sldChg>
      <pc:sldChg chg="addSp delSp modSp mod">
        <pc:chgData name="Johanna Marx" userId="f7883e6b-b8f5-49bd-97ed-29afbba9d34b" providerId="ADAL" clId="{458BE4F6-BDC1-4A79-8D38-12A6FFFE4F58}" dt="2025-02-02T13:45:50.610" v="3144"/>
        <pc:sldMkLst>
          <pc:docMk/>
          <pc:sldMk cId="2974701433" sldId="336"/>
        </pc:sldMkLst>
      </pc:sldChg>
      <pc:sldChg chg="modSp mod">
        <pc:chgData name="Johanna Marx" userId="f7883e6b-b8f5-49bd-97ed-29afbba9d34b" providerId="ADAL" clId="{458BE4F6-BDC1-4A79-8D38-12A6FFFE4F58}" dt="2025-02-02T12:29:51.774" v="2485" actId="108"/>
        <pc:sldMkLst>
          <pc:docMk/>
          <pc:sldMk cId="1183542163" sldId="339"/>
        </pc:sldMkLst>
      </pc:sldChg>
      <pc:sldChg chg="delSp modSp mod">
        <pc:chgData name="Johanna Marx" userId="f7883e6b-b8f5-49bd-97ed-29afbba9d34b" providerId="ADAL" clId="{458BE4F6-BDC1-4A79-8D38-12A6FFFE4F58}" dt="2025-02-02T13:07:24" v="3009" actId="207"/>
        <pc:sldMkLst>
          <pc:docMk/>
          <pc:sldMk cId="1871282574" sldId="340"/>
        </pc:sldMkLst>
      </pc:sldChg>
      <pc:sldChg chg="modSp mod">
        <pc:chgData name="Johanna Marx" userId="f7883e6b-b8f5-49bd-97ed-29afbba9d34b" providerId="ADAL" clId="{458BE4F6-BDC1-4A79-8D38-12A6FFFE4F58}" dt="2025-02-02T13:04:06.520" v="2967" actId="14100"/>
        <pc:sldMkLst>
          <pc:docMk/>
          <pc:sldMk cId="3645510430" sldId="379"/>
        </pc:sldMkLst>
      </pc:sldChg>
      <pc:sldChg chg="addSp modSp">
        <pc:chgData name="Johanna Marx" userId="f7883e6b-b8f5-49bd-97ed-29afbba9d34b" providerId="ADAL" clId="{458BE4F6-BDC1-4A79-8D38-12A6FFFE4F58}" dt="2025-02-02T13:46:14.516" v="3147"/>
        <pc:sldMkLst>
          <pc:docMk/>
          <pc:sldMk cId="2307933946" sldId="383"/>
        </pc:sldMkLst>
      </pc:sldChg>
      <pc:sldChg chg="del">
        <pc:chgData name="Johanna Marx" userId="f7883e6b-b8f5-49bd-97ed-29afbba9d34b" providerId="ADAL" clId="{458BE4F6-BDC1-4A79-8D38-12A6FFFE4F58}" dt="2025-02-01T11:39:43.069" v="2351" actId="47"/>
        <pc:sldMkLst>
          <pc:docMk/>
          <pc:sldMk cId="2426590716" sldId="384"/>
        </pc:sldMkLst>
      </pc:sldChg>
      <pc:sldChg chg="addSp modSp mod">
        <pc:chgData name="Johanna Marx" userId="f7883e6b-b8f5-49bd-97ed-29afbba9d34b" providerId="ADAL" clId="{458BE4F6-BDC1-4A79-8D38-12A6FFFE4F58}" dt="2025-02-02T13:45:56.025" v="3146"/>
        <pc:sldMkLst>
          <pc:docMk/>
          <pc:sldMk cId="2984851244" sldId="385"/>
        </pc:sldMkLst>
      </pc:sldChg>
      <pc:sldChg chg="modSp mod">
        <pc:chgData name="Johanna Marx" userId="f7883e6b-b8f5-49bd-97ed-29afbba9d34b" providerId="ADAL" clId="{458BE4F6-BDC1-4A79-8D38-12A6FFFE4F58}" dt="2025-02-02T12:30:42.026" v="2503" actId="20577"/>
        <pc:sldMkLst>
          <pc:docMk/>
          <pc:sldMk cId="1409559676" sldId="386"/>
        </pc:sldMkLst>
      </pc:sldChg>
      <pc:sldChg chg="modSp mod">
        <pc:chgData name="Johanna Marx" userId="f7883e6b-b8f5-49bd-97ed-29afbba9d34b" providerId="ADAL" clId="{458BE4F6-BDC1-4A79-8D38-12A6FFFE4F58}" dt="2025-02-02T12:50:15.066" v="2786" actId="207"/>
        <pc:sldMkLst>
          <pc:docMk/>
          <pc:sldMk cId="4224912597" sldId="397"/>
        </pc:sldMkLst>
      </pc:sldChg>
      <pc:sldChg chg="modSp mod">
        <pc:chgData name="Johanna Marx" userId="f7883e6b-b8f5-49bd-97ed-29afbba9d34b" providerId="ADAL" clId="{458BE4F6-BDC1-4A79-8D38-12A6FFFE4F58}" dt="2025-02-02T12:53:29.934" v="2831" actId="1076"/>
        <pc:sldMkLst>
          <pc:docMk/>
          <pc:sldMk cId="3795676206" sldId="398"/>
        </pc:sldMkLst>
      </pc:sldChg>
      <pc:sldChg chg="modSp mod">
        <pc:chgData name="Johanna Marx" userId="f7883e6b-b8f5-49bd-97ed-29afbba9d34b" providerId="ADAL" clId="{458BE4F6-BDC1-4A79-8D38-12A6FFFE4F58}" dt="2025-02-02T12:57:49.035" v="2889" actId="1076"/>
        <pc:sldMkLst>
          <pc:docMk/>
          <pc:sldMk cId="4004313946" sldId="399"/>
        </pc:sldMkLst>
      </pc:sldChg>
      <pc:sldChg chg="modSp mod">
        <pc:chgData name="Johanna Marx" userId="f7883e6b-b8f5-49bd-97ed-29afbba9d34b" providerId="ADAL" clId="{458BE4F6-BDC1-4A79-8D38-12A6FFFE4F58}" dt="2025-02-02T12:55:15.737" v="2844" actId="1037"/>
        <pc:sldMkLst>
          <pc:docMk/>
          <pc:sldMk cId="3670737395" sldId="404"/>
        </pc:sldMkLst>
      </pc:sldChg>
      <pc:sldChg chg="modSp mod">
        <pc:chgData name="Johanna Marx" userId="f7883e6b-b8f5-49bd-97ed-29afbba9d34b" providerId="ADAL" clId="{458BE4F6-BDC1-4A79-8D38-12A6FFFE4F58}" dt="2025-02-02T12:56:05.387" v="2865" actId="6549"/>
        <pc:sldMkLst>
          <pc:docMk/>
          <pc:sldMk cId="3729310544" sldId="406"/>
        </pc:sldMkLst>
      </pc:sldChg>
      <pc:sldChg chg="modSp mod">
        <pc:chgData name="Johanna Marx" userId="f7883e6b-b8f5-49bd-97ed-29afbba9d34b" providerId="ADAL" clId="{458BE4F6-BDC1-4A79-8D38-12A6FFFE4F58}" dt="2025-02-02T12:56:40.910" v="2871" actId="14100"/>
        <pc:sldMkLst>
          <pc:docMk/>
          <pc:sldMk cId="71582575" sldId="407"/>
        </pc:sldMkLst>
      </pc:sldChg>
      <pc:sldChg chg="addSp delSp modSp mod">
        <pc:chgData name="Johanna Marx" userId="f7883e6b-b8f5-49bd-97ed-29afbba9d34b" providerId="ADAL" clId="{458BE4F6-BDC1-4A79-8D38-12A6FFFE4F58}" dt="2025-02-02T12:55:33.982" v="2861" actId="1076"/>
        <pc:sldMkLst>
          <pc:docMk/>
          <pc:sldMk cId="515090417" sldId="409"/>
        </pc:sldMkLst>
      </pc:sldChg>
      <pc:sldChg chg="modSp mod">
        <pc:chgData name="Johanna Marx" userId="f7883e6b-b8f5-49bd-97ed-29afbba9d34b" providerId="ADAL" clId="{458BE4F6-BDC1-4A79-8D38-12A6FFFE4F58}" dt="2025-02-02T12:59:37.685" v="2909" actId="14100"/>
        <pc:sldMkLst>
          <pc:docMk/>
          <pc:sldMk cId="2222115458" sldId="415"/>
        </pc:sldMkLst>
      </pc:sldChg>
      <pc:sldChg chg="addSp delSp modSp mod">
        <pc:chgData name="Johanna Marx" userId="f7883e6b-b8f5-49bd-97ed-29afbba9d34b" providerId="ADAL" clId="{458BE4F6-BDC1-4A79-8D38-12A6FFFE4F58}" dt="2025-02-02T12:35:02.632" v="2551" actId="108"/>
        <pc:sldMkLst>
          <pc:docMk/>
          <pc:sldMk cId="1390558626" sldId="420"/>
        </pc:sldMkLst>
      </pc:sldChg>
      <pc:sldChg chg="modSp mod">
        <pc:chgData name="Johanna Marx" userId="f7883e6b-b8f5-49bd-97ed-29afbba9d34b" providerId="ADAL" clId="{458BE4F6-BDC1-4A79-8D38-12A6FFFE4F58}" dt="2025-02-01T11:40:22.539" v="2352" actId="255"/>
        <pc:sldMkLst>
          <pc:docMk/>
          <pc:sldMk cId="2670221359" sldId="421"/>
        </pc:sldMkLst>
      </pc:sldChg>
      <pc:sldChg chg="modSp mod">
        <pc:chgData name="Johanna Marx" userId="f7883e6b-b8f5-49bd-97ed-29afbba9d34b" providerId="ADAL" clId="{458BE4F6-BDC1-4A79-8D38-12A6FFFE4F58}" dt="2025-02-02T12:35:20.074" v="2559" actId="1038"/>
        <pc:sldMkLst>
          <pc:docMk/>
          <pc:sldMk cId="3908967000" sldId="422"/>
        </pc:sldMkLst>
      </pc:sldChg>
      <pc:sldChg chg="modSp mod">
        <pc:chgData name="Johanna Marx" userId="f7883e6b-b8f5-49bd-97ed-29afbba9d34b" providerId="ADAL" clId="{458BE4F6-BDC1-4A79-8D38-12A6FFFE4F58}" dt="2025-02-02T12:35:40.655" v="2569" actId="1035"/>
        <pc:sldMkLst>
          <pc:docMk/>
          <pc:sldMk cId="2799037114" sldId="423"/>
        </pc:sldMkLst>
      </pc:sldChg>
      <pc:sldChg chg="modSp mod">
        <pc:chgData name="Johanna Marx" userId="f7883e6b-b8f5-49bd-97ed-29afbba9d34b" providerId="ADAL" clId="{458BE4F6-BDC1-4A79-8D38-12A6FFFE4F58}" dt="2025-02-02T12:38:14.076" v="2668" actId="1076"/>
        <pc:sldMkLst>
          <pc:docMk/>
          <pc:sldMk cId="2561607360" sldId="425"/>
        </pc:sldMkLst>
      </pc:sldChg>
      <pc:sldChg chg="modSp mod">
        <pc:chgData name="Johanna Marx" userId="f7883e6b-b8f5-49bd-97ed-29afbba9d34b" providerId="ADAL" clId="{458BE4F6-BDC1-4A79-8D38-12A6FFFE4F58}" dt="2025-02-02T12:39:34.137" v="2690" actId="14100"/>
        <pc:sldMkLst>
          <pc:docMk/>
          <pc:sldMk cId="737680729" sldId="426"/>
        </pc:sldMkLst>
      </pc:sldChg>
      <pc:sldChg chg="addSp delSp modSp mod modClrScheme chgLayout">
        <pc:chgData name="Johanna Marx" userId="f7883e6b-b8f5-49bd-97ed-29afbba9d34b" providerId="ADAL" clId="{458BE4F6-BDC1-4A79-8D38-12A6FFFE4F58}" dt="2025-02-02T12:43:26.492" v="2707" actId="1076"/>
        <pc:sldMkLst>
          <pc:docMk/>
          <pc:sldMk cId="2202070614" sldId="428"/>
        </pc:sldMkLst>
      </pc:sldChg>
      <pc:sldChg chg="addSp delSp modSp mod modClrScheme chgLayout">
        <pc:chgData name="Johanna Marx" userId="f7883e6b-b8f5-49bd-97ed-29afbba9d34b" providerId="ADAL" clId="{458BE4F6-BDC1-4A79-8D38-12A6FFFE4F58}" dt="2025-02-02T12:43:40.524" v="2708" actId="255"/>
        <pc:sldMkLst>
          <pc:docMk/>
          <pc:sldMk cId="2174013086" sldId="429"/>
        </pc:sldMkLst>
      </pc:sldChg>
      <pc:sldChg chg="addSp delSp modSp mod">
        <pc:chgData name="Johanna Marx" userId="f7883e6b-b8f5-49bd-97ed-29afbba9d34b" providerId="ADAL" clId="{458BE4F6-BDC1-4A79-8D38-12A6FFFE4F58}" dt="2025-02-02T12:43:52.881" v="2709" actId="255"/>
        <pc:sldMkLst>
          <pc:docMk/>
          <pc:sldMk cId="3660786385" sldId="430"/>
        </pc:sldMkLst>
      </pc:sldChg>
      <pc:sldChg chg="modSp mod">
        <pc:chgData name="Johanna Marx" userId="f7883e6b-b8f5-49bd-97ed-29afbba9d34b" providerId="ADAL" clId="{458BE4F6-BDC1-4A79-8D38-12A6FFFE4F58}" dt="2025-02-02T12:44:09.210" v="2711" actId="255"/>
        <pc:sldMkLst>
          <pc:docMk/>
          <pc:sldMk cId="3455161716" sldId="431"/>
        </pc:sldMkLst>
      </pc:sldChg>
      <pc:sldChg chg="addSp delSp modSp mod">
        <pc:chgData name="Johanna Marx" userId="f7883e6b-b8f5-49bd-97ed-29afbba9d34b" providerId="ADAL" clId="{458BE4F6-BDC1-4A79-8D38-12A6FFFE4F58}" dt="2025-02-02T12:46:25.133" v="2750" actId="108"/>
        <pc:sldMkLst>
          <pc:docMk/>
          <pc:sldMk cId="1222796130" sldId="432"/>
        </pc:sldMkLst>
      </pc:sldChg>
      <pc:sldChg chg="addSp delSp modSp mod">
        <pc:chgData name="Johanna Marx" userId="f7883e6b-b8f5-49bd-97ed-29afbba9d34b" providerId="ADAL" clId="{458BE4F6-BDC1-4A79-8D38-12A6FFFE4F58}" dt="2025-02-02T12:46:37.763" v="2753" actId="6549"/>
        <pc:sldMkLst>
          <pc:docMk/>
          <pc:sldMk cId="2019023612" sldId="434"/>
        </pc:sldMkLst>
      </pc:sldChg>
      <pc:sldChg chg="delSp modSp mod">
        <pc:chgData name="Johanna Marx" userId="f7883e6b-b8f5-49bd-97ed-29afbba9d34b" providerId="ADAL" clId="{458BE4F6-BDC1-4A79-8D38-12A6FFFE4F58}" dt="2025-02-02T12:46:04.350" v="2748" actId="1076"/>
        <pc:sldMkLst>
          <pc:docMk/>
          <pc:sldMk cId="3459908272" sldId="435"/>
        </pc:sldMkLst>
      </pc:sldChg>
      <pc:sldChg chg="modSp mod">
        <pc:chgData name="Johanna Marx" userId="f7883e6b-b8f5-49bd-97ed-29afbba9d34b" providerId="ADAL" clId="{458BE4F6-BDC1-4A79-8D38-12A6FFFE4F58}" dt="2025-02-01T09:27:57.352" v="641" actId="14100"/>
        <pc:sldMkLst>
          <pc:docMk/>
          <pc:sldMk cId="3409542249" sldId="436"/>
        </pc:sldMkLst>
      </pc:sldChg>
      <pc:sldChg chg="modSp mod">
        <pc:chgData name="Johanna Marx" userId="f7883e6b-b8f5-49bd-97ed-29afbba9d34b" providerId="ADAL" clId="{458BE4F6-BDC1-4A79-8D38-12A6FFFE4F58}" dt="2025-02-02T13:00:18.206" v="2925" actId="14100"/>
        <pc:sldMkLst>
          <pc:docMk/>
          <pc:sldMk cId="1498560102" sldId="437"/>
        </pc:sldMkLst>
      </pc:sldChg>
      <pc:sldChg chg="addSp delSp modSp mod modClrScheme chgLayout">
        <pc:chgData name="Johanna Marx" userId="f7883e6b-b8f5-49bd-97ed-29afbba9d34b" providerId="ADAL" clId="{458BE4F6-BDC1-4A79-8D38-12A6FFFE4F58}" dt="2025-02-02T13:01:19.248" v="2940" actId="1036"/>
        <pc:sldMkLst>
          <pc:docMk/>
          <pc:sldMk cId="958515270" sldId="438"/>
        </pc:sldMkLst>
      </pc:sldChg>
      <pc:sldChg chg="addSp delSp modSp mod modClrScheme chgLayout">
        <pc:chgData name="Johanna Marx" userId="f7883e6b-b8f5-49bd-97ed-29afbba9d34b" providerId="ADAL" clId="{458BE4F6-BDC1-4A79-8D38-12A6FFFE4F58}" dt="2025-02-02T13:01:40.354" v="2942" actId="1076"/>
        <pc:sldMkLst>
          <pc:docMk/>
          <pc:sldMk cId="1657911828" sldId="439"/>
        </pc:sldMkLst>
      </pc:sldChg>
      <pc:sldChg chg="modSp mod">
        <pc:chgData name="Johanna Marx" userId="f7883e6b-b8f5-49bd-97ed-29afbba9d34b" providerId="ADAL" clId="{458BE4F6-BDC1-4A79-8D38-12A6FFFE4F58}" dt="2025-02-02T12:47:14.400" v="2757" actId="113"/>
        <pc:sldMkLst>
          <pc:docMk/>
          <pc:sldMk cId="2767352284" sldId="440"/>
        </pc:sldMkLst>
      </pc:sldChg>
      <pc:sldChg chg="addSp delSp modSp mod modClrScheme chgLayout">
        <pc:chgData name="Johanna Marx" userId="f7883e6b-b8f5-49bd-97ed-29afbba9d34b" providerId="ADAL" clId="{458BE4F6-BDC1-4A79-8D38-12A6FFFE4F58}" dt="2025-02-02T12:47:35.974" v="2759" actId="207"/>
        <pc:sldMkLst>
          <pc:docMk/>
          <pc:sldMk cId="1430487288" sldId="441"/>
        </pc:sldMkLst>
      </pc:sldChg>
      <pc:sldChg chg="addSp delSp modSp mod modClrScheme chgLayout">
        <pc:chgData name="Johanna Marx" userId="f7883e6b-b8f5-49bd-97ed-29afbba9d34b" providerId="ADAL" clId="{458BE4F6-BDC1-4A79-8D38-12A6FFFE4F58}" dt="2025-02-02T12:47:58.263" v="2762" actId="207"/>
        <pc:sldMkLst>
          <pc:docMk/>
          <pc:sldMk cId="451900156" sldId="442"/>
        </pc:sldMkLst>
      </pc:sldChg>
      <pc:sldChg chg="addSp delSp modSp mod">
        <pc:chgData name="Johanna Marx" userId="f7883e6b-b8f5-49bd-97ed-29afbba9d34b" providerId="ADAL" clId="{458BE4F6-BDC1-4A79-8D38-12A6FFFE4F58}" dt="2025-02-02T12:48:24.212" v="2770" actId="255"/>
        <pc:sldMkLst>
          <pc:docMk/>
          <pc:sldMk cId="2003200674" sldId="443"/>
        </pc:sldMkLst>
      </pc:sldChg>
      <pc:sldChg chg="modSp mod">
        <pc:chgData name="Johanna Marx" userId="f7883e6b-b8f5-49bd-97ed-29afbba9d34b" providerId="ADAL" clId="{458BE4F6-BDC1-4A79-8D38-12A6FFFE4F58}" dt="2025-02-02T12:49:55.137" v="2784" actId="1076"/>
        <pc:sldMkLst>
          <pc:docMk/>
          <pc:sldMk cId="4050617437" sldId="445"/>
        </pc:sldMkLst>
      </pc:sldChg>
      <pc:sldChg chg="addSp delSp modSp mod modClrScheme chgLayout">
        <pc:chgData name="Johanna Marx" userId="f7883e6b-b8f5-49bd-97ed-29afbba9d34b" providerId="ADAL" clId="{458BE4F6-BDC1-4A79-8D38-12A6FFFE4F58}" dt="2025-02-02T12:50:31.729" v="2789" actId="1076"/>
        <pc:sldMkLst>
          <pc:docMk/>
          <pc:sldMk cId="1495806589" sldId="446"/>
        </pc:sldMkLst>
      </pc:sldChg>
      <pc:sldChg chg="addSp delSp modSp mod modClrScheme chgLayout">
        <pc:chgData name="Johanna Marx" userId="f7883e6b-b8f5-49bd-97ed-29afbba9d34b" providerId="ADAL" clId="{458BE4F6-BDC1-4A79-8D38-12A6FFFE4F58}" dt="2025-02-02T12:50:45.071" v="2791" actId="1076"/>
        <pc:sldMkLst>
          <pc:docMk/>
          <pc:sldMk cId="1011478239" sldId="447"/>
        </pc:sldMkLst>
      </pc:sldChg>
      <pc:sldChg chg="modSp mod">
        <pc:chgData name="Johanna Marx" userId="f7883e6b-b8f5-49bd-97ed-29afbba9d34b" providerId="ADAL" clId="{458BE4F6-BDC1-4A79-8D38-12A6FFFE4F58}" dt="2025-02-02T12:51:09.266" v="2794" actId="14100"/>
        <pc:sldMkLst>
          <pc:docMk/>
          <pc:sldMk cId="541787147" sldId="450"/>
        </pc:sldMkLst>
      </pc:sldChg>
      <pc:sldChg chg="addSp delSp modSp mod modClrScheme chgLayout">
        <pc:chgData name="Johanna Marx" userId="f7883e6b-b8f5-49bd-97ed-29afbba9d34b" providerId="ADAL" clId="{458BE4F6-BDC1-4A79-8D38-12A6FFFE4F58}" dt="2025-02-02T12:51:19.880" v="2795" actId="255"/>
        <pc:sldMkLst>
          <pc:docMk/>
          <pc:sldMk cId="925422638" sldId="451"/>
        </pc:sldMkLst>
      </pc:sldChg>
      <pc:sldChg chg="addSp delSp modSp mod modClrScheme chgLayout">
        <pc:chgData name="Johanna Marx" userId="f7883e6b-b8f5-49bd-97ed-29afbba9d34b" providerId="ADAL" clId="{458BE4F6-BDC1-4A79-8D38-12A6FFFE4F58}" dt="2025-02-02T12:51:44.261" v="2811" actId="1036"/>
        <pc:sldMkLst>
          <pc:docMk/>
          <pc:sldMk cId="2397090823" sldId="452"/>
        </pc:sldMkLst>
      </pc:sldChg>
      <pc:sldChg chg="delSp modSp mod">
        <pc:chgData name="Johanna Marx" userId="f7883e6b-b8f5-49bd-97ed-29afbba9d34b" providerId="ADAL" clId="{458BE4F6-BDC1-4A79-8D38-12A6FFFE4F58}" dt="2025-02-02T12:51:55.847" v="2813" actId="1076"/>
        <pc:sldMkLst>
          <pc:docMk/>
          <pc:sldMk cId="3806529852" sldId="453"/>
        </pc:sldMkLst>
      </pc:sldChg>
      <pc:sldChg chg="addSp modSp mod">
        <pc:chgData name="Johanna Marx" userId="f7883e6b-b8f5-49bd-97ed-29afbba9d34b" providerId="ADAL" clId="{458BE4F6-BDC1-4A79-8D38-12A6FFFE4F58}" dt="2025-02-02T12:54:49.904" v="2838" actId="1036"/>
        <pc:sldMkLst>
          <pc:docMk/>
          <pc:sldMk cId="3416925434" sldId="455"/>
        </pc:sldMkLst>
      </pc:sldChg>
      <pc:sldChg chg="addSp delSp modSp mod modClrScheme chgLayout">
        <pc:chgData name="Johanna Marx" userId="f7883e6b-b8f5-49bd-97ed-29afbba9d34b" providerId="ADAL" clId="{458BE4F6-BDC1-4A79-8D38-12A6FFFE4F58}" dt="2025-02-02T12:58:09.209" v="2892" actId="1076"/>
        <pc:sldMkLst>
          <pc:docMk/>
          <pc:sldMk cId="4159375901" sldId="456"/>
        </pc:sldMkLst>
      </pc:sldChg>
      <pc:sldChg chg="modSp mod">
        <pc:chgData name="Johanna Marx" userId="f7883e6b-b8f5-49bd-97ed-29afbba9d34b" providerId="ADAL" clId="{458BE4F6-BDC1-4A79-8D38-12A6FFFE4F58}" dt="2025-02-02T12:58:27.795" v="2893" actId="255"/>
        <pc:sldMkLst>
          <pc:docMk/>
          <pc:sldMk cId="687854547" sldId="458"/>
        </pc:sldMkLst>
      </pc:sldChg>
      <pc:sldChg chg="addSp delSp modSp mod modClrScheme chgLayout">
        <pc:chgData name="Johanna Marx" userId="f7883e6b-b8f5-49bd-97ed-29afbba9d34b" providerId="ADAL" clId="{458BE4F6-BDC1-4A79-8D38-12A6FFFE4F58}" dt="2025-02-02T13:03:23.569" v="2954" actId="14100"/>
        <pc:sldMkLst>
          <pc:docMk/>
          <pc:sldMk cId="2314472185" sldId="459"/>
        </pc:sldMkLst>
      </pc:sldChg>
      <pc:sldChg chg="delSp modSp mod">
        <pc:chgData name="Johanna Marx" userId="f7883e6b-b8f5-49bd-97ed-29afbba9d34b" providerId="ADAL" clId="{458BE4F6-BDC1-4A79-8D38-12A6FFFE4F58}" dt="2025-02-02T13:03:33.266" v="2960" actId="1038"/>
        <pc:sldMkLst>
          <pc:docMk/>
          <pc:sldMk cId="3928735736" sldId="461"/>
        </pc:sldMkLst>
      </pc:sldChg>
      <pc:sldChg chg="modSp mod">
        <pc:chgData name="Johanna Marx" userId="f7883e6b-b8f5-49bd-97ed-29afbba9d34b" providerId="ADAL" clId="{458BE4F6-BDC1-4A79-8D38-12A6FFFE4F58}" dt="2025-02-02T13:11:34.155" v="3030" actId="207"/>
        <pc:sldMkLst>
          <pc:docMk/>
          <pc:sldMk cId="3939354789" sldId="463"/>
        </pc:sldMkLst>
      </pc:sldChg>
      <pc:sldChg chg="delSp modSp mod">
        <pc:chgData name="Johanna Marx" userId="f7883e6b-b8f5-49bd-97ed-29afbba9d34b" providerId="ADAL" clId="{458BE4F6-BDC1-4A79-8D38-12A6FFFE4F58}" dt="2025-02-01T10:58:40.614" v="1452" actId="14100"/>
        <pc:sldMkLst>
          <pc:docMk/>
          <pc:sldMk cId="3459382042" sldId="465"/>
        </pc:sldMkLst>
      </pc:sldChg>
      <pc:sldChg chg="del">
        <pc:chgData name="Johanna Marx" userId="f7883e6b-b8f5-49bd-97ed-29afbba9d34b" providerId="ADAL" clId="{458BE4F6-BDC1-4A79-8D38-12A6FFFE4F58}" dt="2025-02-01T10:59:51.059" v="1460" actId="47"/>
        <pc:sldMkLst>
          <pc:docMk/>
          <pc:sldMk cId="132633914" sldId="466"/>
        </pc:sldMkLst>
      </pc:sldChg>
      <pc:sldChg chg="addSp delSp modSp mod modClrScheme chgLayout">
        <pc:chgData name="Johanna Marx" userId="f7883e6b-b8f5-49bd-97ed-29afbba9d34b" providerId="ADAL" clId="{458BE4F6-BDC1-4A79-8D38-12A6FFFE4F58}" dt="2025-02-02T13:02:58.722" v="2951" actId="1076"/>
        <pc:sldMkLst>
          <pc:docMk/>
          <pc:sldMk cId="2138083522" sldId="468"/>
        </pc:sldMkLst>
      </pc:sldChg>
      <pc:sldChg chg="addSp delSp modSp mod">
        <pc:chgData name="Johanna Marx" userId="f7883e6b-b8f5-49bd-97ed-29afbba9d34b" providerId="ADAL" clId="{458BE4F6-BDC1-4A79-8D38-12A6FFFE4F58}" dt="2025-02-01T10:40:38.894" v="1324" actId="478"/>
        <pc:sldMkLst>
          <pc:docMk/>
          <pc:sldMk cId="1813835250" sldId="470"/>
        </pc:sldMkLst>
      </pc:sldChg>
      <pc:sldChg chg="addSp delSp modSp mod">
        <pc:chgData name="Johanna Marx" userId="f7883e6b-b8f5-49bd-97ed-29afbba9d34b" providerId="ADAL" clId="{458BE4F6-BDC1-4A79-8D38-12A6FFFE4F58}" dt="2025-02-02T13:10:33.383" v="3019" actId="255"/>
        <pc:sldMkLst>
          <pc:docMk/>
          <pc:sldMk cId="3927665919" sldId="471"/>
        </pc:sldMkLst>
      </pc:sldChg>
      <pc:sldChg chg="modSp mod">
        <pc:chgData name="Johanna Marx" userId="f7883e6b-b8f5-49bd-97ed-29afbba9d34b" providerId="ADAL" clId="{458BE4F6-BDC1-4A79-8D38-12A6FFFE4F58}" dt="2025-02-02T13:12:44.080" v="3053" actId="207"/>
        <pc:sldMkLst>
          <pc:docMk/>
          <pc:sldMk cId="1858285298" sldId="472"/>
        </pc:sldMkLst>
      </pc:sldChg>
      <pc:sldChg chg="modSp mod">
        <pc:chgData name="Johanna Marx" userId="f7883e6b-b8f5-49bd-97ed-29afbba9d34b" providerId="ADAL" clId="{458BE4F6-BDC1-4A79-8D38-12A6FFFE4F58}" dt="2025-02-02T13:17:13.511" v="3126" actId="1076"/>
        <pc:sldMkLst>
          <pc:docMk/>
          <pc:sldMk cId="1150075437" sldId="474"/>
        </pc:sldMkLst>
      </pc:sldChg>
      <pc:sldChg chg="modSp mod">
        <pc:chgData name="Johanna Marx" userId="f7883e6b-b8f5-49bd-97ed-29afbba9d34b" providerId="ADAL" clId="{458BE4F6-BDC1-4A79-8D38-12A6FFFE4F58}" dt="2025-02-01T11:02:13.016" v="1486" actId="1076"/>
        <pc:sldMkLst>
          <pc:docMk/>
          <pc:sldMk cId="3229242791" sldId="475"/>
        </pc:sldMkLst>
      </pc:sldChg>
      <pc:sldChg chg="addSp delSp modSp mod">
        <pc:chgData name="Johanna Marx" userId="f7883e6b-b8f5-49bd-97ed-29afbba9d34b" providerId="ADAL" clId="{458BE4F6-BDC1-4A79-8D38-12A6FFFE4F58}" dt="2025-02-02T13:14:43.221" v="3085" actId="14100"/>
        <pc:sldMkLst>
          <pc:docMk/>
          <pc:sldMk cId="1003491974" sldId="476"/>
        </pc:sldMkLst>
      </pc:sldChg>
      <pc:sldChg chg="addSp delSp modSp mod">
        <pc:chgData name="Johanna Marx" userId="f7883e6b-b8f5-49bd-97ed-29afbba9d34b" providerId="ADAL" clId="{458BE4F6-BDC1-4A79-8D38-12A6FFFE4F58}" dt="2025-02-02T13:13:54.886" v="3074" actId="207"/>
        <pc:sldMkLst>
          <pc:docMk/>
          <pc:sldMk cId="3486327106" sldId="477"/>
        </pc:sldMkLst>
      </pc:sldChg>
      <pc:sldChg chg="addSp delSp modSp mod">
        <pc:chgData name="Johanna Marx" userId="f7883e6b-b8f5-49bd-97ed-29afbba9d34b" providerId="ADAL" clId="{458BE4F6-BDC1-4A79-8D38-12A6FFFE4F58}" dt="2025-02-02T13:15:18.206" v="3089" actId="207"/>
        <pc:sldMkLst>
          <pc:docMk/>
          <pc:sldMk cId="3964838248" sldId="478"/>
        </pc:sldMkLst>
      </pc:sldChg>
      <pc:sldChg chg="modSp mod">
        <pc:chgData name="Johanna Marx" userId="f7883e6b-b8f5-49bd-97ed-29afbba9d34b" providerId="ADAL" clId="{458BE4F6-BDC1-4A79-8D38-12A6FFFE4F58}" dt="2025-02-02T13:12:54.156" v="3055" actId="255"/>
        <pc:sldMkLst>
          <pc:docMk/>
          <pc:sldMk cId="931298400" sldId="479"/>
        </pc:sldMkLst>
      </pc:sldChg>
      <pc:sldChg chg="modSp mod">
        <pc:chgData name="Johanna Marx" userId="f7883e6b-b8f5-49bd-97ed-29afbba9d34b" providerId="ADAL" clId="{458BE4F6-BDC1-4A79-8D38-12A6FFFE4F58}" dt="2025-02-02T13:10:46.883" v="3021" actId="14100"/>
        <pc:sldMkLst>
          <pc:docMk/>
          <pc:sldMk cId="1930544580" sldId="481"/>
        </pc:sldMkLst>
      </pc:sldChg>
      <pc:sldChg chg="modSp mod">
        <pc:chgData name="Johanna Marx" userId="f7883e6b-b8f5-49bd-97ed-29afbba9d34b" providerId="ADAL" clId="{458BE4F6-BDC1-4A79-8D38-12A6FFFE4F58}" dt="2025-02-01T09:34:58.270" v="753" actId="1076"/>
        <pc:sldMkLst>
          <pc:docMk/>
          <pc:sldMk cId="1687439426" sldId="483"/>
        </pc:sldMkLst>
      </pc:sldChg>
      <pc:sldChg chg="addSp modSp mod">
        <pc:chgData name="Johanna Marx" userId="f7883e6b-b8f5-49bd-97ed-29afbba9d34b" providerId="ADAL" clId="{458BE4F6-BDC1-4A79-8D38-12A6FFFE4F58}" dt="2025-02-01T11:37:50.528" v="2326" actId="255"/>
        <pc:sldMkLst>
          <pc:docMk/>
          <pc:sldMk cId="1638968597" sldId="484"/>
        </pc:sldMkLst>
      </pc:sldChg>
      <pc:sldChg chg="addSp delSp modSp mod">
        <pc:chgData name="Johanna Marx" userId="f7883e6b-b8f5-49bd-97ed-29afbba9d34b" providerId="ADAL" clId="{458BE4F6-BDC1-4A79-8D38-12A6FFFE4F58}" dt="2025-02-02T13:17:33.027" v="3128" actId="14100"/>
        <pc:sldMkLst>
          <pc:docMk/>
          <pc:sldMk cId="3582432814" sldId="486"/>
        </pc:sldMkLst>
      </pc:sldChg>
      <pc:sldChg chg="addSp delSp modSp mod">
        <pc:chgData name="Johanna Marx" userId="f7883e6b-b8f5-49bd-97ed-29afbba9d34b" providerId="ADAL" clId="{458BE4F6-BDC1-4A79-8D38-12A6FFFE4F58}" dt="2025-02-02T13:17:37.016" v="3129" actId="14100"/>
        <pc:sldMkLst>
          <pc:docMk/>
          <pc:sldMk cId="1845829592" sldId="488"/>
        </pc:sldMkLst>
      </pc:sldChg>
      <pc:sldChg chg="addSp delSp modSp mod">
        <pc:chgData name="Johanna Marx" userId="f7883e6b-b8f5-49bd-97ed-29afbba9d34b" providerId="ADAL" clId="{458BE4F6-BDC1-4A79-8D38-12A6FFFE4F58}" dt="2025-02-02T13:18:16.410" v="3143" actId="1037"/>
        <pc:sldMkLst>
          <pc:docMk/>
          <pc:sldMk cId="811887742" sldId="489"/>
        </pc:sldMkLst>
      </pc:sldChg>
      <pc:sldChg chg="addSp delSp modSp mod modClrScheme chgLayout">
        <pc:chgData name="Johanna Marx" userId="f7883e6b-b8f5-49bd-97ed-29afbba9d34b" providerId="ADAL" clId="{458BE4F6-BDC1-4A79-8D38-12A6FFFE4F58}" dt="2025-02-02T13:10:24.936" v="3018" actId="6549"/>
        <pc:sldMkLst>
          <pc:docMk/>
          <pc:sldMk cId="3426481833" sldId="490"/>
        </pc:sldMkLst>
      </pc:sldChg>
      <pc:sldChg chg="modSp mod">
        <pc:chgData name="Johanna Marx" userId="f7883e6b-b8f5-49bd-97ed-29afbba9d34b" providerId="ADAL" clId="{458BE4F6-BDC1-4A79-8D38-12A6FFFE4F58}" dt="2025-02-02T13:02:10.884" v="2943" actId="255"/>
        <pc:sldMkLst>
          <pc:docMk/>
          <pc:sldMk cId="2749491118" sldId="491"/>
        </pc:sldMkLst>
      </pc:sldChg>
      <pc:sldChg chg="addSp delSp modSp mod modClrScheme chgLayout">
        <pc:chgData name="Johanna Marx" userId="f7883e6b-b8f5-49bd-97ed-29afbba9d34b" providerId="ADAL" clId="{458BE4F6-BDC1-4A79-8D38-12A6FFFE4F58}" dt="2025-02-02T13:03:51.721" v="2966" actId="1037"/>
        <pc:sldMkLst>
          <pc:docMk/>
          <pc:sldMk cId="3617604892" sldId="492"/>
        </pc:sldMkLst>
      </pc:sldChg>
      <pc:sldChg chg="addSp delSp modSp new mod">
        <pc:chgData name="Johanna Marx" userId="f7883e6b-b8f5-49bd-97ed-29afbba9d34b" providerId="ADAL" clId="{458BE4F6-BDC1-4A79-8D38-12A6FFFE4F58}" dt="2025-02-02T12:45:39.680" v="2744" actId="948"/>
        <pc:sldMkLst>
          <pc:docMk/>
          <pc:sldMk cId="655282077" sldId="493"/>
        </pc:sldMkLst>
      </pc:sldChg>
      <pc:sldChg chg="addSp delSp modSp new mod">
        <pc:chgData name="Johanna Marx" userId="f7883e6b-b8f5-49bd-97ed-29afbba9d34b" providerId="ADAL" clId="{458BE4F6-BDC1-4A79-8D38-12A6FFFE4F58}" dt="2025-02-01T10:48:48.954" v="1391" actId="2711"/>
        <pc:sldMkLst>
          <pc:docMk/>
          <pc:sldMk cId="2545148024" sldId="494"/>
        </pc:sldMkLst>
      </pc:sldChg>
      <pc:sldChg chg="addSp delSp modSp new mod">
        <pc:chgData name="Johanna Marx" userId="f7883e6b-b8f5-49bd-97ed-29afbba9d34b" providerId="ADAL" clId="{458BE4F6-BDC1-4A79-8D38-12A6FFFE4F58}" dt="2025-02-02T13:11:58.308" v="3041" actId="6549"/>
        <pc:sldMkLst>
          <pc:docMk/>
          <pc:sldMk cId="67903818" sldId="495"/>
        </pc:sldMkLst>
      </pc:sldChg>
      <pc:sldChg chg="addSp delSp modSp new mod">
        <pc:chgData name="Johanna Marx" userId="f7883e6b-b8f5-49bd-97ed-29afbba9d34b" providerId="ADAL" clId="{458BE4F6-BDC1-4A79-8D38-12A6FFFE4F58}" dt="2025-02-02T13:15:47.599" v="3115" actId="1035"/>
        <pc:sldMkLst>
          <pc:docMk/>
          <pc:sldMk cId="3627704464" sldId="496"/>
        </pc:sldMkLst>
      </pc:sldChg>
    </pc:docChg>
  </pc:docChgLst>
  <pc:docChgLst>
    <pc:chgData name="Antje-Lina Weber" userId="9f4ef15c-448f-435b-bcfd-c1b593e81006" providerId="ADAL" clId="{FE666F35-3DA7-4C7F-ABBD-D5576F6331E5}"/>
    <pc:docChg chg="custSel modSld">
      <pc:chgData name="Antje-Lina Weber" userId="9f4ef15c-448f-435b-bcfd-c1b593e81006" providerId="ADAL" clId="{FE666F35-3DA7-4C7F-ABBD-D5576F6331E5}" dt="2024-07-17T15:30:48.099" v="28" actId="14100"/>
      <pc:docMkLst>
        <pc:docMk/>
      </pc:docMkLst>
      <pc:sldChg chg="addSp delSp modSp mod">
        <pc:chgData name="Antje-Lina Weber" userId="9f4ef15c-448f-435b-bcfd-c1b593e81006" providerId="ADAL" clId="{FE666F35-3DA7-4C7F-ABBD-D5576F6331E5}" dt="2024-07-17T15:30:48.099" v="28" actId="14100"/>
        <pc:sldMkLst>
          <pc:docMk/>
          <pc:sldMk cId="3553033900" sldId="287"/>
        </pc:sldMkLst>
      </pc:sldChg>
    </pc:docChg>
  </pc:docChgLst>
  <pc:docChgLst>
    <pc:chgData name="Lukas Rau" userId="S::lukas.rau@tum.de::a75e0523-20be-4fb9-acc6-1a36dfa716c4" providerId="AD" clId="Web-{BAEF0C45-EA14-5D61-F201-7C8CE1B5BD05}"/>
    <pc:docChg chg="addSld modSld modSection">
      <pc:chgData name="Lukas Rau" userId="S::lukas.rau@tum.de::a75e0523-20be-4fb9-acc6-1a36dfa716c4" providerId="AD" clId="Web-{BAEF0C45-EA14-5D61-F201-7C8CE1B5BD05}" dt="2025-01-15T19:14:31.238" v="135"/>
      <pc:docMkLst>
        <pc:docMk/>
      </pc:docMkLst>
      <pc:sldChg chg="modSp">
        <pc:chgData name="Lukas Rau" userId="S::lukas.rau@tum.de::a75e0523-20be-4fb9-acc6-1a36dfa716c4" providerId="AD" clId="Web-{BAEF0C45-EA14-5D61-F201-7C8CE1B5BD05}" dt="2025-01-15T19:14:15.988" v="128" actId="20577"/>
        <pc:sldMkLst>
          <pc:docMk/>
          <pc:sldMk cId="4224912597" sldId="397"/>
        </pc:sldMkLst>
      </pc:sldChg>
      <pc:sldChg chg="addSp modSp">
        <pc:chgData name="Lukas Rau" userId="S::lukas.rau@tum.de::a75e0523-20be-4fb9-acc6-1a36dfa716c4" providerId="AD" clId="Web-{BAEF0C45-EA14-5D61-F201-7C8CE1B5BD05}" dt="2025-01-15T19:11:14.012" v="97" actId="1076"/>
        <pc:sldMkLst>
          <pc:docMk/>
          <pc:sldMk cId="4050617437" sldId="445"/>
        </pc:sldMkLst>
      </pc:sldChg>
      <pc:sldChg chg="delSp modSp add replId">
        <pc:chgData name="Lukas Rau" userId="S::lukas.rau@tum.de::a75e0523-20be-4fb9-acc6-1a36dfa716c4" providerId="AD" clId="Web-{BAEF0C45-EA14-5D61-F201-7C8CE1B5BD05}" dt="2025-01-15T19:14:31.238" v="135"/>
        <pc:sldMkLst>
          <pc:docMk/>
          <pc:sldMk cId="1687439426" sldId="483"/>
        </pc:sldMkLst>
      </pc:sldChg>
    </pc:docChg>
  </pc:docChgLst>
  <pc:docChgLst>
    <pc:chgData name="Magdalena Huber" userId="09a1914b-d35e-4077-891f-10ae83cfed20" providerId="ADAL" clId="{A3DC540A-040D-B94C-9D8C-C8ED537774E2}"/>
    <pc:docChg chg="undo custSel modSld">
      <pc:chgData name="Magdalena Huber" userId="09a1914b-d35e-4077-891f-10ae83cfed20" providerId="ADAL" clId="{A3DC540A-040D-B94C-9D8C-C8ED537774E2}" dt="2025-07-19T10:56:53.314" v="7" actId="478"/>
      <pc:docMkLst>
        <pc:docMk/>
      </pc:docMkLst>
      <pc:sldChg chg="delSp modSp mod">
        <pc:chgData name="Magdalena Huber" userId="09a1914b-d35e-4077-891f-10ae83cfed20" providerId="ADAL" clId="{A3DC540A-040D-B94C-9D8C-C8ED537774E2}" dt="2025-07-19T10:56:53.314" v="7" actId="478"/>
        <pc:sldMkLst>
          <pc:docMk/>
          <pc:sldMk cId="2799037114" sldId="423"/>
        </pc:sldMkLst>
        <pc:spChg chg="mod">
          <ac:chgData name="Magdalena Huber" userId="09a1914b-d35e-4077-891f-10ae83cfed20" providerId="ADAL" clId="{A3DC540A-040D-B94C-9D8C-C8ED537774E2}" dt="2025-07-19T10:56:42.773" v="3" actId="207"/>
          <ac:spMkLst>
            <pc:docMk/>
            <pc:sldMk cId="2799037114" sldId="423"/>
            <ac:spMk id="3" creationId="{8351DA2A-5393-7C35-7093-C5A6A1ABE832}"/>
          </ac:spMkLst>
        </pc:spChg>
        <pc:spChg chg="mod">
          <ac:chgData name="Magdalena Huber" userId="09a1914b-d35e-4077-891f-10ae83cfed20" providerId="ADAL" clId="{A3DC540A-040D-B94C-9D8C-C8ED537774E2}" dt="2025-07-19T10:56:42.773" v="3" actId="207"/>
          <ac:spMkLst>
            <pc:docMk/>
            <pc:sldMk cId="2799037114" sldId="423"/>
            <ac:spMk id="4" creationId="{912D527B-E81D-B3C6-74AF-6DC859380C06}"/>
          </ac:spMkLst>
        </pc:spChg>
        <pc:spChg chg="mod">
          <ac:chgData name="Magdalena Huber" userId="09a1914b-d35e-4077-891f-10ae83cfed20" providerId="ADAL" clId="{A3DC540A-040D-B94C-9D8C-C8ED537774E2}" dt="2025-07-19T10:56:08.142" v="2" actId="2711"/>
          <ac:spMkLst>
            <pc:docMk/>
            <pc:sldMk cId="2799037114" sldId="423"/>
            <ac:spMk id="8" creationId="{4C11FBAF-DA97-F8D1-7805-03EE4685D6D0}"/>
          </ac:spMkLst>
        </pc:spChg>
        <pc:spChg chg="mod">
          <ac:chgData name="Magdalena Huber" userId="09a1914b-d35e-4077-891f-10ae83cfed20" providerId="ADAL" clId="{A3DC540A-040D-B94C-9D8C-C8ED537774E2}" dt="2025-07-19T10:56:42.773" v="3" actId="207"/>
          <ac:spMkLst>
            <pc:docMk/>
            <pc:sldMk cId="2799037114" sldId="423"/>
            <ac:spMk id="10" creationId="{742B7D9E-CE34-EAEB-FB75-0CA51E75BA0A}"/>
          </ac:spMkLst>
        </pc:spChg>
        <pc:spChg chg="mod">
          <ac:chgData name="Magdalena Huber" userId="09a1914b-d35e-4077-891f-10ae83cfed20" providerId="ADAL" clId="{A3DC540A-040D-B94C-9D8C-C8ED537774E2}" dt="2025-07-19T10:56:42.773" v="3" actId="207"/>
          <ac:spMkLst>
            <pc:docMk/>
            <pc:sldMk cId="2799037114" sldId="423"/>
            <ac:spMk id="16" creationId="{9E5E9905-E8A3-1ADB-4929-BD1B612F5A14}"/>
          </ac:spMkLst>
        </pc:spChg>
        <pc:spChg chg="mod">
          <ac:chgData name="Magdalena Huber" userId="09a1914b-d35e-4077-891f-10ae83cfed20" providerId="ADAL" clId="{A3DC540A-040D-B94C-9D8C-C8ED537774E2}" dt="2025-07-19T10:56:42.773" v="3" actId="207"/>
          <ac:spMkLst>
            <pc:docMk/>
            <pc:sldMk cId="2799037114" sldId="423"/>
            <ac:spMk id="19" creationId="{A042B9EF-A230-A807-FF4D-009FED3AC44A}"/>
          </ac:spMkLst>
        </pc:spChg>
        <pc:spChg chg="mod">
          <ac:chgData name="Magdalena Huber" userId="09a1914b-d35e-4077-891f-10ae83cfed20" providerId="ADAL" clId="{A3DC540A-040D-B94C-9D8C-C8ED537774E2}" dt="2025-07-19T10:56:42.773" v="3" actId="207"/>
          <ac:spMkLst>
            <pc:docMk/>
            <pc:sldMk cId="2799037114" sldId="423"/>
            <ac:spMk id="22" creationId="{0A868FF3-8B5A-4F71-4B33-102A44CF0A01}"/>
          </ac:spMkLst>
        </pc:spChg>
        <pc:spChg chg="mod">
          <ac:chgData name="Magdalena Huber" userId="09a1914b-d35e-4077-891f-10ae83cfed20" providerId="ADAL" clId="{A3DC540A-040D-B94C-9D8C-C8ED537774E2}" dt="2025-07-19T10:56:42.773" v="3" actId="207"/>
          <ac:spMkLst>
            <pc:docMk/>
            <pc:sldMk cId="2799037114" sldId="423"/>
            <ac:spMk id="25" creationId="{2B77A902-D6A3-5C9A-7DB2-D87BB8772FE9}"/>
          </ac:spMkLst>
        </pc:spChg>
        <pc:spChg chg="mod">
          <ac:chgData name="Magdalena Huber" userId="09a1914b-d35e-4077-891f-10ae83cfed20" providerId="ADAL" clId="{A3DC540A-040D-B94C-9D8C-C8ED537774E2}" dt="2025-07-19T10:56:42.773" v="3" actId="207"/>
          <ac:spMkLst>
            <pc:docMk/>
            <pc:sldMk cId="2799037114" sldId="423"/>
            <ac:spMk id="28" creationId="{B026A20D-D20F-D5C3-04A8-58F8FA5B33D3}"/>
          </ac:spMkLst>
        </pc:spChg>
        <pc:spChg chg="mod">
          <ac:chgData name="Magdalena Huber" userId="09a1914b-d35e-4077-891f-10ae83cfed20" providerId="ADAL" clId="{A3DC540A-040D-B94C-9D8C-C8ED537774E2}" dt="2025-07-19T10:56:42.773" v="3" actId="207"/>
          <ac:spMkLst>
            <pc:docMk/>
            <pc:sldMk cId="2799037114" sldId="423"/>
            <ac:spMk id="32" creationId="{75D44663-B1AF-0069-E012-C57FDEF770B1}"/>
          </ac:spMkLst>
        </pc:spChg>
        <pc:spChg chg="mod">
          <ac:chgData name="Magdalena Huber" userId="09a1914b-d35e-4077-891f-10ae83cfed20" providerId="ADAL" clId="{A3DC540A-040D-B94C-9D8C-C8ED537774E2}" dt="2025-07-19T10:56:42.773" v="3" actId="207"/>
          <ac:spMkLst>
            <pc:docMk/>
            <pc:sldMk cId="2799037114" sldId="423"/>
            <ac:spMk id="33" creationId="{A53619EA-D764-7707-E1D6-36B5170A3262}"/>
          </ac:spMkLst>
        </pc:spChg>
        <pc:spChg chg="del mod">
          <ac:chgData name="Magdalena Huber" userId="09a1914b-d35e-4077-891f-10ae83cfed20" providerId="ADAL" clId="{A3DC540A-040D-B94C-9D8C-C8ED537774E2}" dt="2025-07-19T10:56:53.314" v="7" actId="478"/>
          <ac:spMkLst>
            <pc:docMk/>
            <pc:sldMk cId="2799037114" sldId="423"/>
            <ac:spMk id="44" creationId="{D25A1740-B30F-C77C-A722-2B6B13D93E30}"/>
          </ac:spMkLst>
        </pc:spChg>
      </pc:sldChg>
    </pc:docChg>
  </pc:docChgLst>
  <pc:docChgLst>
    <pc:chgData name="Lukas Rau" userId="S::lukas.rau@tum.de::a75e0523-20be-4fb9-acc6-1a36dfa716c4" providerId="AD" clId="Web-{04DC6D2F-0EE7-6BF1-1D0F-0E1A0987EB62}"/>
    <pc:docChg chg="modSld">
      <pc:chgData name="Lukas Rau" userId="S::lukas.rau@tum.de::a75e0523-20be-4fb9-acc6-1a36dfa716c4" providerId="AD" clId="Web-{04DC6D2F-0EE7-6BF1-1D0F-0E1A0987EB62}" dt="2025-01-28T14:59:12.345" v="13" actId="20577"/>
      <pc:docMkLst>
        <pc:docMk/>
      </pc:docMkLst>
      <pc:sldChg chg="modSp">
        <pc:chgData name="Lukas Rau" userId="S::lukas.rau@tum.de::a75e0523-20be-4fb9-acc6-1a36dfa716c4" providerId="AD" clId="Web-{04DC6D2F-0EE7-6BF1-1D0F-0E1A0987EB62}" dt="2025-01-28T13:58:12.906" v="2" actId="20577"/>
        <pc:sldMkLst>
          <pc:docMk/>
          <pc:sldMk cId="4050617437" sldId="445"/>
        </pc:sldMkLst>
      </pc:sldChg>
      <pc:sldChg chg="modSp">
        <pc:chgData name="Lukas Rau" userId="S::lukas.rau@tum.de::a75e0523-20be-4fb9-acc6-1a36dfa716c4" providerId="AD" clId="Web-{04DC6D2F-0EE7-6BF1-1D0F-0E1A0987EB62}" dt="2025-01-28T14:02:04.446" v="6" actId="20577"/>
        <pc:sldMkLst>
          <pc:docMk/>
          <pc:sldMk cId="3416925434" sldId="455"/>
        </pc:sldMkLst>
      </pc:sldChg>
      <pc:sldChg chg="modSp">
        <pc:chgData name="Lukas Rau" userId="S::lukas.rau@tum.de::a75e0523-20be-4fb9-acc6-1a36dfa716c4" providerId="AD" clId="Web-{04DC6D2F-0EE7-6BF1-1D0F-0E1A0987EB62}" dt="2025-01-28T14:59:12.345" v="13" actId="20577"/>
        <pc:sldMkLst>
          <pc:docMk/>
          <pc:sldMk cId="1858285298" sldId="472"/>
        </pc:sldMkLst>
      </pc:sldChg>
    </pc:docChg>
  </pc:docChgLst>
  <pc:docChgLst>
    <pc:chgData name="Lukas Rau" userId="S::lukas.rau@tum.de::a75e0523-20be-4fb9-acc6-1a36dfa716c4" providerId="AD" clId="Web-{A0891187-7EA6-B3E3-A12C-C11FDBDC35AB}"/>
    <pc:docChg chg="delSld modSld modSection">
      <pc:chgData name="Lukas Rau" userId="S::lukas.rau@tum.de::a75e0523-20be-4fb9-acc6-1a36dfa716c4" providerId="AD" clId="Web-{A0891187-7EA6-B3E3-A12C-C11FDBDC35AB}" dt="2025-01-04T15:01:56.353" v="17" actId="20577"/>
      <pc:docMkLst>
        <pc:docMk/>
      </pc:docMkLst>
      <pc:sldChg chg="del">
        <pc:chgData name="Lukas Rau" userId="S::lukas.rau@tum.de::a75e0523-20be-4fb9-acc6-1a36dfa716c4" providerId="AD" clId="Web-{A0891187-7EA6-B3E3-A12C-C11FDBDC35AB}" dt="2025-01-04T15:00:54.398" v="0"/>
        <pc:sldMkLst>
          <pc:docMk/>
          <pc:sldMk cId="1332489482" sldId="403"/>
        </pc:sldMkLst>
      </pc:sldChg>
      <pc:sldChg chg="modSp">
        <pc:chgData name="Lukas Rau" userId="S::lukas.rau@tum.de::a75e0523-20be-4fb9-acc6-1a36dfa716c4" providerId="AD" clId="Web-{A0891187-7EA6-B3E3-A12C-C11FDBDC35AB}" dt="2025-01-04T15:01:56.353" v="17" actId="20577"/>
        <pc:sldMkLst>
          <pc:docMk/>
          <pc:sldMk cId="3459382042" sldId="465"/>
        </pc:sldMkLst>
      </pc:sldChg>
    </pc:docChg>
  </pc:docChgLst>
  <pc:docChgLst>
    <pc:chgData name="Lukas Rau" userId="S::lukas.rau@tum.de::a75e0523-20be-4fb9-acc6-1a36dfa716c4" providerId="AD" clId="Web-{3D2E8AF5-EBD4-5CF7-927E-7F2A28116A37}"/>
    <pc:docChg chg="modSld">
      <pc:chgData name="Lukas Rau" userId="S::lukas.rau@tum.de::a75e0523-20be-4fb9-acc6-1a36dfa716c4" providerId="AD" clId="Web-{3D2E8AF5-EBD4-5CF7-927E-7F2A28116A37}" dt="2025-01-01T15:57:05.316" v="12" actId="20577"/>
      <pc:docMkLst>
        <pc:docMk/>
      </pc:docMkLst>
      <pc:sldChg chg="addSp delSp modSp">
        <pc:chgData name="Lukas Rau" userId="S::lukas.rau@tum.de::a75e0523-20be-4fb9-acc6-1a36dfa716c4" providerId="AD" clId="Web-{3D2E8AF5-EBD4-5CF7-927E-7F2A28116A37}" dt="2025-01-01T15:57:05.316" v="12" actId="20577"/>
        <pc:sldMkLst>
          <pc:docMk/>
          <pc:sldMk cId="3459908272" sldId="435"/>
        </pc:sldMkLst>
      </pc:sldChg>
    </pc:docChg>
  </pc:docChgLst>
  <pc:docChgLst>
    <pc:chgData name="Lukas Rau" userId="S::lukas.rau@tum.de::a75e0523-20be-4fb9-acc6-1a36dfa716c4" providerId="AD" clId="Web-{7670B265-F61B-0248-7555-6B18B7B91DF4}"/>
    <pc:docChg chg="modSld">
      <pc:chgData name="Lukas Rau" userId="S::lukas.rau@tum.de::a75e0523-20be-4fb9-acc6-1a36dfa716c4" providerId="AD" clId="Web-{7670B265-F61B-0248-7555-6B18B7B91DF4}" dt="2025-01-15T14:20:33.311" v="19" actId="1076"/>
      <pc:docMkLst>
        <pc:docMk/>
      </pc:docMkLst>
      <pc:sldChg chg="addSp modSp">
        <pc:chgData name="Lukas Rau" userId="S::lukas.rau@tum.de::a75e0523-20be-4fb9-acc6-1a36dfa716c4" providerId="AD" clId="Web-{7670B265-F61B-0248-7555-6B18B7B91DF4}" dt="2025-01-15T14:15:38.879" v="7" actId="14100"/>
        <pc:sldMkLst>
          <pc:docMk/>
          <pc:sldMk cId="2799037114" sldId="423"/>
        </pc:sldMkLst>
      </pc:sldChg>
      <pc:sldChg chg="modSp">
        <pc:chgData name="Lukas Rau" userId="S::lukas.rau@tum.de::a75e0523-20be-4fb9-acc6-1a36dfa716c4" providerId="AD" clId="Web-{7670B265-F61B-0248-7555-6B18B7B91DF4}" dt="2025-01-15T14:20:33.311" v="19" actId="1076"/>
        <pc:sldMkLst>
          <pc:docMk/>
          <pc:sldMk cId="2561607360" sldId="425"/>
        </pc:sldMkLst>
      </pc:sldChg>
    </pc:docChg>
  </pc:docChgLst>
  <pc:docChgLst>
    <pc:chgData name="Johanna Marx" userId="f7883e6b-b8f5-49bd-97ed-29afbba9d34b" providerId="ADAL" clId="{B651EFCA-8A64-4764-8FE1-FB22A54D7071}"/>
    <pc:docChg chg="addSld modSld modMainMaster">
      <pc:chgData name="Johanna Marx" userId="f7883e6b-b8f5-49bd-97ed-29afbba9d34b" providerId="ADAL" clId="{B651EFCA-8A64-4764-8FE1-FB22A54D7071}" dt="2024-11-12T13:29:15.395" v="18" actId="207"/>
      <pc:docMkLst>
        <pc:docMk/>
      </pc:docMkLst>
      <pc:sldChg chg="modSp add mod">
        <pc:chgData name="Johanna Marx" userId="f7883e6b-b8f5-49bd-97ed-29afbba9d34b" providerId="ADAL" clId="{B651EFCA-8A64-4764-8FE1-FB22A54D7071}" dt="2024-11-12T13:29:15.395" v="18" actId="207"/>
        <pc:sldMkLst>
          <pc:docMk/>
          <pc:sldMk cId="0" sldId="275"/>
        </pc:sldMkLst>
      </pc:sldChg>
      <pc:sldChg chg="addSp modSp mod">
        <pc:chgData name="Johanna Marx" userId="f7883e6b-b8f5-49bd-97ed-29afbba9d34b" providerId="ADAL" clId="{B651EFCA-8A64-4764-8FE1-FB22A54D7071}" dt="2024-11-12T13:28:14.107" v="14" actId="20577"/>
        <pc:sldMkLst>
          <pc:docMk/>
          <pc:sldMk cId="2426590716" sldId="384"/>
        </pc:sldMkLst>
      </pc:sldChg>
      <pc:sldMasterChg chg="modSldLayout">
        <pc:chgData name="Johanna Marx" userId="f7883e6b-b8f5-49bd-97ed-29afbba9d34b" providerId="ADAL" clId="{B651EFCA-8A64-4764-8FE1-FB22A54D7071}" dt="2024-11-12T13:29:04.645" v="17" actId="14100"/>
        <pc:sldMasterMkLst>
          <pc:docMk/>
          <pc:sldMasterMk cId="0" sldId="2147483669"/>
        </pc:sldMasterMkLst>
        <pc:sldLayoutChg chg="modSp mod">
          <pc:chgData name="Johanna Marx" userId="f7883e6b-b8f5-49bd-97ed-29afbba9d34b" providerId="ADAL" clId="{B651EFCA-8A64-4764-8FE1-FB22A54D7071}" dt="2024-11-12T13:29:04.645" v="17" actId="14100"/>
          <pc:sldLayoutMkLst>
            <pc:docMk/>
            <pc:sldMasterMk cId="0" sldId="2147483669"/>
            <pc:sldLayoutMk cId="831550200" sldId="2147483670"/>
          </pc:sldLayoutMkLst>
        </pc:sldLayoutChg>
      </pc:sldMasterChg>
    </pc:docChg>
  </pc:docChgLst>
  <pc:docChgLst>
    <pc:chgData name="Lukas Rau" userId="S::lukas.rau@tum.de::a75e0523-20be-4fb9-acc6-1a36dfa716c4" providerId="AD" clId="Web-{32BE7A09-8113-C996-60DC-80D606D03C01}"/>
    <pc:docChg chg="modSld">
      <pc:chgData name="Lukas Rau" userId="S::lukas.rau@tum.de::a75e0523-20be-4fb9-acc6-1a36dfa716c4" providerId="AD" clId="Web-{32BE7A09-8113-C996-60DC-80D606D03C01}" dt="2025-01-05T10:48:24.751" v="17" actId="14100"/>
      <pc:docMkLst>
        <pc:docMk/>
      </pc:docMkLst>
      <pc:sldChg chg="modSp">
        <pc:chgData name="Lukas Rau" userId="S::lukas.rau@tum.de::a75e0523-20be-4fb9-acc6-1a36dfa716c4" providerId="AD" clId="Web-{32BE7A09-8113-C996-60DC-80D606D03C01}" dt="2025-01-05T10:48:24.751" v="17" actId="14100"/>
        <pc:sldMkLst>
          <pc:docMk/>
          <pc:sldMk cId="3939354789" sldId="463"/>
        </pc:sldMkLst>
      </pc:sldChg>
    </pc:docChg>
  </pc:docChgLst>
  <pc:docChgLst>
    <pc:chgData name="Sefa Sert" userId="S::sefa.sert@tum.de::efd7ad94-999b-4a47-9386-fda6558aa00c" providerId="AD" clId="Web-{5D4A7724-1223-A5BC-73B1-50FFC24389EE}"/>
    <pc:docChg chg="sldOrd">
      <pc:chgData name="Sefa Sert" userId="S::sefa.sert@tum.de::efd7ad94-999b-4a47-9386-fda6558aa00c" providerId="AD" clId="Web-{5D4A7724-1223-A5BC-73B1-50FFC24389EE}" dt="2024-07-15T16:37:36.052" v="1"/>
      <pc:docMkLst>
        <pc:docMk/>
      </pc:docMkLst>
      <pc:sldChg chg="ord">
        <pc:chgData name="Sefa Sert" userId="S::sefa.sert@tum.de::efd7ad94-999b-4a47-9386-fda6558aa00c" providerId="AD" clId="Web-{5D4A7724-1223-A5BC-73B1-50FFC24389EE}" dt="2024-07-15T16:37:36.052" v="1"/>
        <pc:sldMkLst>
          <pc:docMk/>
          <pc:sldMk cId="284084864" sldId="350"/>
        </pc:sldMkLst>
      </pc:sldChg>
    </pc:docChg>
  </pc:docChgLst>
  <pc:docChgLst>
    <pc:chgData name="Lukas Rau" userId="S::lukas.rau@tum.de::a75e0523-20be-4fb9-acc6-1a36dfa716c4" providerId="AD" clId="Web-{C41B0CC6-7180-7160-F3C4-CCDA764B8783}"/>
    <pc:docChg chg="modSld">
      <pc:chgData name="Lukas Rau" userId="S::lukas.rau@tum.de::a75e0523-20be-4fb9-acc6-1a36dfa716c4" providerId="AD" clId="Web-{C41B0CC6-7180-7160-F3C4-CCDA764B8783}" dt="2024-11-19T10:36:05.215" v="1" actId="20577"/>
      <pc:docMkLst>
        <pc:docMk/>
      </pc:docMkLst>
      <pc:sldChg chg="modSp">
        <pc:chgData name="Lukas Rau" userId="S::lukas.rau@tum.de::a75e0523-20be-4fb9-acc6-1a36dfa716c4" providerId="AD" clId="Web-{C41B0CC6-7180-7160-F3C4-CCDA764B8783}" dt="2024-11-19T10:36:05.215" v="1" actId="20577"/>
        <pc:sldMkLst>
          <pc:docMk/>
          <pc:sldMk cId="1183542163" sldId="339"/>
        </pc:sldMkLst>
      </pc:sldChg>
    </pc:docChg>
  </pc:docChgLst>
  <pc:docChgLst>
    <pc:chgData name="Antje-Lina Weber" userId="9f4ef15c-448f-435b-bcfd-c1b593e81006" providerId="ADAL" clId="{B5A3CBAE-1428-4CB6-8D3D-93FA72CECC36}"/>
    <pc:docChg chg="custSel modSld">
      <pc:chgData name="Antje-Lina Weber" userId="9f4ef15c-448f-435b-bcfd-c1b593e81006" providerId="ADAL" clId="{B5A3CBAE-1428-4CB6-8D3D-93FA72CECC36}" dt="2024-07-17T20:04:10.684" v="18" actId="20577"/>
      <pc:docMkLst>
        <pc:docMk/>
      </pc:docMkLst>
      <pc:sldChg chg="addSp delSp modSp mod">
        <pc:chgData name="Antje-Lina Weber" userId="9f4ef15c-448f-435b-bcfd-c1b593e81006" providerId="ADAL" clId="{B5A3CBAE-1428-4CB6-8D3D-93FA72CECC36}" dt="2024-07-17T19:51:50.039" v="17" actId="1076"/>
        <pc:sldMkLst>
          <pc:docMk/>
          <pc:sldMk cId="1601966315" sldId="285"/>
        </pc:sldMkLst>
      </pc:sldChg>
      <pc:sldChg chg="modSp mod">
        <pc:chgData name="Antje-Lina Weber" userId="9f4ef15c-448f-435b-bcfd-c1b593e81006" providerId="ADAL" clId="{B5A3CBAE-1428-4CB6-8D3D-93FA72CECC36}" dt="2024-07-17T20:04:10.684" v="18" actId="20577"/>
        <pc:sldMkLst>
          <pc:docMk/>
          <pc:sldMk cId="3553033900" sldId="287"/>
        </pc:sldMkLst>
      </pc:sldChg>
      <pc:sldChg chg="modSp mod">
        <pc:chgData name="Antje-Lina Weber" userId="9f4ef15c-448f-435b-bcfd-c1b593e81006" providerId="ADAL" clId="{B5A3CBAE-1428-4CB6-8D3D-93FA72CECC36}" dt="2024-07-17T19:48:18.479" v="2" actId="1076"/>
        <pc:sldMkLst>
          <pc:docMk/>
          <pc:sldMk cId="1028456503" sldId="382"/>
        </pc:sldMkLst>
      </pc:sldChg>
    </pc:docChg>
  </pc:docChgLst>
  <pc:docChgLst>
    <pc:chgData name="Lukas Rau" userId="S::lukas.rau@tum.de::a75e0523-20be-4fb9-acc6-1a36dfa716c4" providerId="AD" clId="Web-{415E2015-C9E4-D451-55C1-757BDB212A9D}"/>
    <pc:docChg chg="delSld modSld sldOrd modSection">
      <pc:chgData name="Lukas Rau" userId="S::lukas.rau@tum.de::a75e0523-20be-4fb9-acc6-1a36dfa716c4" providerId="AD" clId="Web-{415E2015-C9E4-D451-55C1-757BDB212A9D}" dt="2025-01-14T08:54:25.520" v="358" actId="20577"/>
      <pc:docMkLst>
        <pc:docMk/>
      </pc:docMkLst>
      <pc:sldChg chg="modSp">
        <pc:chgData name="Lukas Rau" userId="S::lukas.rau@tum.de::a75e0523-20be-4fb9-acc6-1a36dfa716c4" providerId="AD" clId="Web-{415E2015-C9E4-D451-55C1-757BDB212A9D}" dt="2025-01-14T08:46:36.518" v="300" actId="20577"/>
        <pc:sldMkLst>
          <pc:docMk/>
          <pc:sldMk cId="855508414" sldId="301"/>
        </pc:sldMkLst>
      </pc:sldChg>
      <pc:sldChg chg="modSp">
        <pc:chgData name="Lukas Rau" userId="S::lukas.rau@tum.de::a75e0523-20be-4fb9-acc6-1a36dfa716c4" providerId="AD" clId="Web-{415E2015-C9E4-D451-55C1-757BDB212A9D}" dt="2025-01-14T08:53:51.378" v="353" actId="20577"/>
        <pc:sldMkLst>
          <pc:docMk/>
          <pc:sldMk cId="3420601596" sldId="315"/>
        </pc:sldMkLst>
      </pc:sldChg>
      <pc:sldChg chg="ord">
        <pc:chgData name="Lukas Rau" userId="S::lukas.rau@tum.de::a75e0523-20be-4fb9-acc6-1a36dfa716c4" providerId="AD" clId="Web-{415E2015-C9E4-D451-55C1-757BDB212A9D}" dt="2025-01-14T08:49:23.805" v="309"/>
        <pc:sldMkLst>
          <pc:docMk/>
          <pc:sldMk cId="1409559676" sldId="386"/>
        </pc:sldMkLst>
      </pc:sldChg>
      <pc:sldChg chg="addSp modSp">
        <pc:chgData name="Lukas Rau" userId="S::lukas.rau@tum.de::a75e0523-20be-4fb9-acc6-1a36dfa716c4" providerId="AD" clId="Web-{415E2015-C9E4-D451-55C1-757BDB212A9D}" dt="2025-01-14T08:27:33.974" v="231" actId="20577"/>
        <pc:sldMkLst>
          <pc:docMk/>
          <pc:sldMk cId="4004313946" sldId="399"/>
        </pc:sldMkLst>
      </pc:sldChg>
      <pc:sldChg chg="modSp">
        <pc:chgData name="Lukas Rau" userId="S::lukas.rau@tum.de::a75e0523-20be-4fb9-acc6-1a36dfa716c4" providerId="AD" clId="Web-{415E2015-C9E4-D451-55C1-757BDB212A9D}" dt="2025-01-14T08:33:35.550" v="290" actId="1076"/>
        <pc:sldMkLst>
          <pc:docMk/>
          <pc:sldMk cId="2642767501" sldId="413"/>
        </pc:sldMkLst>
      </pc:sldChg>
      <pc:sldChg chg="modSp">
        <pc:chgData name="Lukas Rau" userId="S::lukas.rau@tum.de::a75e0523-20be-4fb9-acc6-1a36dfa716c4" providerId="AD" clId="Web-{415E2015-C9E4-D451-55C1-757BDB212A9D}" dt="2025-01-14T08:34:33.724" v="293" actId="20577"/>
        <pc:sldMkLst>
          <pc:docMk/>
          <pc:sldMk cId="2222115458" sldId="415"/>
        </pc:sldMkLst>
      </pc:sldChg>
      <pc:sldChg chg="mod modShow">
        <pc:chgData name="Lukas Rau" userId="S::lukas.rau@tum.de::a75e0523-20be-4fb9-acc6-1a36dfa716c4" providerId="AD" clId="Web-{415E2015-C9E4-D451-55C1-757BDB212A9D}" dt="2025-01-14T08:17:32.326" v="0"/>
        <pc:sldMkLst>
          <pc:docMk/>
          <pc:sldMk cId="1174880530" sldId="417"/>
        </pc:sldMkLst>
      </pc:sldChg>
      <pc:sldChg chg="modSp">
        <pc:chgData name="Lukas Rau" userId="S::lukas.rau@tum.de::a75e0523-20be-4fb9-acc6-1a36dfa716c4" providerId="AD" clId="Web-{415E2015-C9E4-D451-55C1-757BDB212A9D}" dt="2025-01-14T08:45:01.998" v="299" actId="1076"/>
        <pc:sldMkLst>
          <pc:docMk/>
          <pc:sldMk cId="1390558626" sldId="420"/>
        </pc:sldMkLst>
      </pc:sldChg>
      <pc:sldChg chg="modSp mod modShow">
        <pc:chgData name="Lukas Rau" userId="S::lukas.rau@tum.de::a75e0523-20be-4fb9-acc6-1a36dfa716c4" providerId="AD" clId="Web-{415E2015-C9E4-D451-55C1-757BDB212A9D}" dt="2025-01-14T08:48:25.069" v="308" actId="20577"/>
        <pc:sldMkLst>
          <pc:docMk/>
          <pc:sldMk cId="2670221359" sldId="421"/>
        </pc:sldMkLst>
      </pc:sldChg>
      <pc:sldChg chg="modSp">
        <pc:chgData name="Lukas Rau" userId="S::lukas.rau@tum.de::a75e0523-20be-4fb9-acc6-1a36dfa716c4" providerId="AD" clId="Web-{415E2015-C9E4-D451-55C1-757BDB212A9D}" dt="2025-01-14T08:48:07.037" v="306" actId="1076"/>
        <pc:sldMkLst>
          <pc:docMk/>
          <pc:sldMk cId="3908967000" sldId="422"/>
        </pc:sldMkLst>
      </pc:sldChg>
      <pc:sldChg chg="modSp">
        <pc:chgData name="Lukas Rau" userId="S::lukas.rau@tum.de::a75e0523-20be-4fb9-acc6-1a36dfa716c4" providerId="AD" clId="Web-{415E2015-C9E4-D451-55C1-757BDB212A9D}" dt="2025-01-14T08:47:36.801" v="301" actId="20577"/>
        <pc:sldMkLst>
          <pc:docMk/>
          <pc:sldMk cId="2799037114" sldId="423"/>
        </pc:sldMkLst>
      </pc:sldChg>
      <pc:sldChg chg="addSp delSp modSp">
        <pc:chgData name="Lukas Rau" userId="S::lukas.rau@tum.de::a75e0523-20be-4fb9-acc6-1a36dfa716c4" providerId="AD" clId="Web-{415E2015-C9E4-D451-55C1-757BDB212A9D}" dt="2025-01-14T08:53:44.675" v="352" actId="1076"/>
        <pc:sldMkLst>
          <pc:docMk/>
          <pc:sldMk cId="2202070614" sldId="428"/>
        </pc:sldMkLst>
      </pc:sldChg>
      <pc:sldChg chg="addSp delSp modSp">
        <pc:chgData name="Lukas Rau" userId="S::lukas.rau@tum.de::a75e0523-20be-4fb9-acc6-1a36dfa716c4" providerId="AD" clId="Web-{415E2015-C9E4-D451-55C1-757BDB212A9D}" dt="2025-01-14T08:53:35.299" v="351" actId="1076"/>
        <pc:sldMkLst>
          <pc:docMk/>
          <pc:sldMk cId="2174013086" sldId="429"/>
        </pc:sldMkLst>
      </pc:sldChg>
      <pc:sldChg chg="addSp delSp modSp">
        <pc:chgData name="Lukas Rau" userId="S::lukas.rau@tum.de::a75e0523-20be-4fb9-acc6-1a36dfa716c4" providerId="AD" clId="Web-{415E2015-C9E4-D451-55C1-757BDB212A9D}" dt="2025-01-14T08:52:36.219" v="340" actId="1076"/>
        <pc:sldMkLst>
          <pc:docMk/>
          <pc:sldMk cId="3660786385" sldId="430"/>
        </pc:sldMkLst>
      </pc:sldChg>
      <pc:sldChg chg="addSp delSp modSp">
        <pc:chgData name="Lukas Rau" userId="S::lukas.rau@tum.de::a75e0523-20be-4fb9-acc6-1a36dfa716c4" providerId="AD" clId="Web-{415E2015-C9E4-D451-55C1-757BDB212A9D}" dt="2025-01-14T08:51:46.545" v="330"/>
        <pc:sldMkLst>
          <pc:docMk/>
          <pc:sldMk cId="3455161716" sldId="431"/>
        </pc:sldMkLst>
      </pc:sldChg>
      <pc:sldChg chg="modSp">
        <pc:chgData name="Lukas Rau" userId="S::lukas.rau@tum.de::a75e0523-20be-4fb9-acc6-1a36dfa716c4" providerId="AD" clId="Web-{415E2015-C9E4-D451-55C1-757BDB212A9D}" dt="2025-01-14T08:53:58.519" v="356" actId="20577"/>
        <pc:sldMkLst>
          <pc:docMk/>
          <pc:sldMk cId="1222796130" sldId="432"/>
        </pc:sldMkLst>
      </pc:sldChg>
      <pc:sldChg chg="modSp">
        <pc:chgData name="Lukas Rau" userId="S::lukas.rau@tum.de::a75e0523-20be-4fb9-acc6-1a36dfa716c4" providerId="AD" clId="Web-{415E2015-C9E4-D451-55C1-757BDB212A9D}" dt="2025-01-14T08:54:17.363" v="357" actId="20577"/>
        <pc:sldMkLst>
          <pc:docMk/>
          <pc:sldMk cId="2019023612" sldId="434"/>
        </pc:sldMkLst>
      </pc:sldChg>
      <pc:sldChg chg="modSp">
        <pc:chgData name="Lukas Rau" userId="S::lukas.rau@tum.de::a75e0523-20be-4fb9-acc6-1a36dfa716c4" providerId="AD" clId="Web-{415E2015-C9E4-D451-55C1-757BDB212A9D}" dt="2025-01-14T08:54:25.520" v="358" actId="20577"/>
        <pc:sldMkLst>
          <pc:docMk/>
          <pc:sldMk cId="1430487288" sldId="441"/>
        </pc:sldMkLst>
      </pc:sldChg>
      <pc:sldChg chg="addSp delSp modSp">
        <pc:chgData name="Lukas Rau" userId="S::lukas.rau@tum.de::a75e0523-20be-4fb9-acc6-1a36dfa716c4" providerId="AD" clId="Web-{415E2015-C9E4-D451-55C1-757BDB212A9D}" dt="2025-01-14T08:29:29.150" v="264" actId="20577"/>
        <pc:sldMkLst>
          <pc:docMk/>
          <pc:sldMk cId="4159375901" sldId="456"/>
        </pc:sldMkLst>
      </pc:sldChg>
      <pc:sldChg chg="addSp delSp modSp del">
        <pc:chgData name="Lukas Rau" userId="S::lukas.rau@tum.de::a75e0523-20be-4fb9-acc6-1a36dfa716c4" providerId="AD" clId="Web-{415E2015-C9E4-D451-55C1-757BDB212A9D}" dt="2025-01-14T08:29:36.932" v="265"/>
        <pc:sldMkLst>
          <pc:docMk/>
          <pc:sldMk cId="988178444" sldId="457"/>
        </pc:sldMkLst>
      </pc:sldChg>
      <pc:sldChg chg="modSp">
        <pc:chgData name="Lukas Rau" userId="S::lukas.rau@tum.de::a75e0523-20be-4fb9-acc6-1a36dfa716c4" providerId="AD" clId="Web-{415E2015-C9E4-D451-55C1-757BDB212A9D}" dt="2025-01-14T08:33:09.176" v="275" actId="20577"/>
        <pc:sldMkLst>
          <pc:docMk/>
          <pc:sldMk cId="687854547" sldId="458"/>
        </pc:sldMkLst>
      </pc:sldChg>
    </pc:docChg>
  </pc:docChgLst>
  <pc:docChgLst>
    <pc:chgData name="Johanna Marx" userId="f7883e6b-b8f5-49bd-97ed-29afbba9d34b" providerId="ADAL" clId="{BFF0D389-B892-4D7B-A975-B893E75C7785}"/>
    <pc:docChg chg="undo redo custSel addSld delSld modSld sldOrd modMainMaster addSection delSection modSection">
      <pc:chgData name="Johanna Marx" userId="f7883e6b-b8f5-49bd-97ed-29afbba9d34b" providerId="ADAL" clId="{BFF0D389-B892-4D7B-A975-B893E75C7785}" dt="2024-07-17T18:21:30.588" v="24417" actId="17851"/>
      <pc:docMkLst>
        <pc:docMk/>
      </pc:docMkLst>
      <pc:sldChg chg="addSp delSp modSp mod ord">
        <pc:chgData name="Johanna Marx" userId="f7883e6b-b8f5-49bd-97ed-29afbba9d34b" providerId="ADAL" clId="{BFF0D389-B892-4D7B-A975-B893E75C7785}" dt="2024-07-15T15:12:22.720" v="14443" actId="1035"/>
        <pc:sldMkLst>
          <pc:docMk/>
          <pc:sldMk cId="0" sldId="256"/>
        </pc:sldMkLst>
      </pc:sldChg>
      <pc:sldChg chg="del">
        <pc:chgData name="Johanna Marx" userId="f7883e6b-b8f5-49bd-97ed-29afbba9d34b" providerId="ADAL" clId="{BFF0D389-B892-4D7B-A975-B893E75C7785}" dt="2024-07-07T12:19:11.936" v="312" actId="47"/>
        <pc:sldMkLst>
          <pc:docMk/>
          <pc:sldMk cId="0" sldId="257"/>
        </pc:sldMkLst>
      </pc:sldChg>
      <pc:sldChg chg="addSp delSp modSp del mod ord modShow">
        <pc:chgData name="Johanna Marx" userId="f7883e6b-b8f5-49bd-97ed-29afbba9d34b" providerId="ADAL" clId="{BFF0D389-B892-4D7B-A975-B893E75C7785}" dt="2024-07-08T08:14:08.834" v="5983" actId="47"/>
        <pc:sldMkLst>
          <pc:docMk/>
          <pc:sldMk cId="0" sldId="258"/>
        </pc:sldMkLst>
      </pc:sldChg>
      <pc:sldChg chg="del ord">
        <pc:chgData name="Johanna Marx" userId="f7883e6b-b8f5-49bd-97ed-29afbba9d34b" providerId="ADAL" clId="{BFF0D389-B892-4D7B-A975-B893E75C7785}" dt="2024-07-07T12:48:17.570" v="1111" actId="47"/>
        <pc:sldMkLst>
          <pc:docMk/>
          <pc:sldMk cId="0" sldId="259"/>
        </pc:sldMkLst>
      </pc:sldChg>
      <pc:sldChg chg="addSp delSp modSp del mod ord modShow">
        <pc:chgData name="Johanna Marx" userId="f7883e6b-b8f5-49bd-97ed-29afbba9d34b" providerId="ADAL" clId="{BFF0D389-B892-4D7B-A975-B893E75C7785}" dt="2024-07-11T10:06:17.022" v="13220" actId="47"/>
        <pc:sldMkLst>
          <pc:docMk/>
          <pc:sldMk cId="0" sldId="260"/>
        </pc:sldMkLst>
      </pc:sldChg>
      <pc:sldChg chg="del mod modShow">
        <pc:chgData name="Johanna Marx" userId="f7883e6b-b8f5-49bd-97ed-29afbba9d34b" providerId="ADAL" clId="{BFF0D389-B892-4D7B-A975-B893E75C7785}" dt="2024-07-11T09:45:14.654" v="12981" actId="47"/>
        <pc:sldMkLst>
          <pc:docMk/>
          <pc:sldMk cId="0" sldId="261"/>
        </pc:sldMkLst>
      </pc:sldChg>
      <pc:sldChg chg="modSp del mod modShow">
        <pc:chgData name="Johanna Marx" userId="f7883e6b-b8f5-49bd-97ed-29afbba9d34b" providerId="ADAL" clId="{BFF0D389-B892-4D7B-A975-B893E75C7785}" dt="2024-07-11T09:45:17.502" v="12982" actId="47"/>
        <pc:sldMkLst>
          <pc:docMk/>
          <pc:sldMk cId="0" sldId="262"/>
        </pc:sldMkLst>
      </pc:sldChg>
      <pc:sldChg chg="del mod modShow">
        <pc:chgData name="Johanna Marx" userId="f7883e6b-b8f5-49bd-97ed-29afbba9d34b" providerId="ADAL" clId="{BFF0D389-B892-4D7B-A975-B893E75C7785}" dt="2024-07-11T09:45:18.928" v="12983" actId="47"/>
        <pc:sldMkLst>
          <pc:docMk/>
          <pc:sldMk cId="0" sldId="263"/>
        </pc:sldMkLst>
      </pc:sldChg>
      <pc:sldChg chg="del mod modShow">
        <pc:chgData name="Johanna Marx" userId="f7883e6b-b8f5-49bd-97ed-29afbba9d34b" providerId="ADAL" clId="{BFF0D389-B892-4D7B-A975-B893E75C7785}" dt="2024-07-11T10:32:13.938" v="13422" actId="47"/>
        <pc:sldMkLst>
          <pc:docMk/>
          <pc:sldMk cId="0" sldId="264"/>
        </pc:sldMkLst>
      </pc:sldChg>
      <pc:sldChg chg="del mod modShow">
        <pc:chgData name="Johanna Marx" userId="f7883e6b-b8f5-49bd-97ed-29afbba9d34b" providerId="ADAL" clId="{BFF0D389-B892-4D7B-A975-B893E75C7785}" dt="2024-07-11T09:45:21.735" v="12984" actId="47"/>
        <pc:sldMkLst>
          <pc:docMk/>
          <pc:sldMk cId="0" sldId="265"/>
        </pc:sldMkLst>
      </pc:sldChg>
      <pc:sldChg chg="del mod modShow">
        <pc:chgData name="Johanna Marx" userId="f7883e6b-b8f5-49bd-97ed-29afbba9d34b" providerId="ADAL" clId="{BFF0D389-B892-4D7B-A975-B893E75C7785}" dt="2024-07-11T10:32:10.611" v="13421" actId="47"/>
        <pc:sldMkLst>
          <pc:docMk/>
          <pc:sldMk cId="0" sldId="266"/>
        </pc:sldMkLst>
      </pc:sldChg>
      <pc:sldChg chg="del mod modShow">
        <pc:chgData name="Johanna Marx" userId="f7883e6b-b8f5-49bd-97ed-29afbba9d34b" providerId="ADAL" clId="{BFF0D389-B892-4D7B-A975-B893E75C7785}" dt="2024-07-11T10:32:06.143" v="13419" actId="47"/>
        <pc:sldMkLst>
          <pc:docMk/>
          <pc:sldMk cId="0" sldId="267"/>
        </pc:sldMkLst>
      </pc:sldChg>
      <pc:sldChg chg="modSp del mod modShow">
        <pc:chgData name="Johanna Marx" userId="f7883e6b-b8f5-49bd-97ed-29afbba9d34b" providerId="ADAL" clId="{BFF0D389-B892-4D7B-A975-B893E75C7785}" dt="2024-07-11T09:45:25.569" v="12985" actId="47"/>
        <pc:sldMkLst>
          <pc:docMk/>
          <pc:sldMk cId="0" sldId="268"/>
        </pc:sldMkLst>
      </pc:sldChg>
      <pc:sldChg chg="del mod modShow">
        <pc:chgData name="Johanna Marx" userId="f7883e6b-b8f5-49bd-97ed-29afbba9d34b" providerId="ADAL" clId="{BFF0D389-B892-4D7B-A975-B893E75C7785}" dt="2024-07-11T10:31:55.273" v="13416" actId="47"/>
        <pc:sldMkLst>
          <pc:docMk/>
          <pc:sldMk cId="0" sldId="269"/>
        </pc:sldMkLst>
      </pc:sldChg>
      <pc:sldChg chg="add del mod modShow">
        <pc:chgData name="Johanna Marx" userId="f7883e6b-b8f5-49bd-97ed-29afbba9d34b" providerId="ADAL" clId="{BFF0D389-B892-4D7B-A975-B893E75C7785}" dt="2024-07-11T09:45:28.241" v="12986" actId="47"/>
        <pc:sldMkLst>
          <pc:docMk/>
          <pc:sldMk cId="0" sldId="270"/>
        </pc:sldMkLst>
      </pc:sldChg>
      <pc:sldChg chg="add del mod modShow">
        <pc:chgData name="Johanna Marx" userId="f7883e6b-b8f5-49bd-97ed-29afbba9d34b" providerId="ADAL" clId="{BFF0D389-B892-4D7B-A975-B893E75C7785}" dt="2024-07-11T09:45:30.248" v="12987" actId="47"/>
        <pc:sldMkLst>
          <pc:docMk/>
          <pc:sldMk cId="0" sldId="271"/>
        </pc:sldMkLst>
      </pc:sldChg>
      <pc:sldChg chg="del mod modShow">
        <pc:chgData name="Johanna Marx" userId="f7883e6b-b8f5-49bd-97ed-29afbba9d34b" providerId="ADAL" clId="{BFF0D389-B892-4D7B-A975-B893E75C7785}" dt="2024-07-07T12:48:36.625" v="1114" actId="47"/>
        <pc:sldMkLst>
          <pc:docMk/>
          <pc:sldMk cId="0" sldId="272"/>
        </pc:sldMkLst>
      </pc:sldChg>
      <pc:sldChg chg="del mod modShow">
        <pc:chgData name="Johanna Marx" userId="f7883e6b-b8f5-49bd-97ed-29afbba9d34b" providerId="ADAL" clId="{BFF0D389-B892-4D7B-A975-B893E75C7785}" dt="2024-07-07T12:48:33.800" v="1113" actId="47"/>
        <pc:sldMkLst>
          <pc:docMk/>
          <pc:sldMk cId="0" sldId="273"/>
        </pc:sldMkLst>
      </pc:sldChg>
      <pc:sldChg chg="del mod modShow">
        <pc:chgData name="Johanna Marx" userId="f7883e6b-b8f5-49bd-97ed-29afbba9d34b" providerId="ADAL" clId="{BFF0D389-B892-4D7B-A975-B893E75C7785}" dt="2024-07-07T12:48:30.733" v="1112" actId="47"/>
        <pc:sldMkLst>
          <pc:docMk/>
          <pc:sldMk cId="0" sldId="274"/>
        </pc:sldMkLst>
      </pc:sldChg>
      <pc:sldChg chg="del mod modShow">
        <pc:chgData name="Johanna Marx" userId="f7883e6b-b8f5-49bd-97ed-29afbba9d34b" providerId="ADAL" clId="{BFF0D389-B892-4D7B-A975-B893E75C7785}" dt="2024-07-11T10:32:01.240" v="13417" actId="47"/>
        <pc:sldMkLst>
          <pc:docMk/>
          <pc:sldMk cId="0" sldId="275"/>
        </pc:sldMkLst>
      </pc:sldChg>
      <pc:sldChg chg="del mod modShow">
        <pc:chgData name="Johanna Marx" userId="f7883e6b-b8f5-49bd-97ed-29afbba9d34b" providerId="ADAL" clId="{BFF0D389-B892-4D7B-A975-B893E75C7785}" dt="2024-07-11T10:32:08.424" v="13420" actId="47"/>
        <pc:sldMkLst>
          <pc:docMk/>
          <pc:sldMk cId="0" sldId="276"/>
        </pc:sldMkLst>
      </pc:sldChg>
      <pc:sldChg chg="del mod modShow">
        <pc:chgData name="Johanna Marx" userId="f7883e6b-b8f5-49bd-97ed-29afbba9d34b" providerId="ADAL" clId="{BFF0D389-B892-4D7B-A975-B893E75C7785}" dt="2024-07-11T10:32:03.995" v="13418" actId="47"/>
        <pc:sldMkLst>
          <pc:docMk/>
          <pc:sldMk cId="0" sldId="277"/>
        </pc:sldMkLst>
      </pc:sldChg>
      <pc:sldChg chg="del mod modShow">
        <pc:chgData name="Johanna Marx" userId="f7883e6b-b8f5-49bd-97ed-29afbba9d34b" providerId="ADAL" clId="{BFF0D389-B892-4D7B-A975-B893E75C7785}" dt="2024-07-11T09:45:36.874" v="12988" actId="47"/>
        <pc:sldMkLst>
          <pc:docMk/>
          <pc:sldMk cId="0" sldId="278"/>
        </pc:sldMkLst>
      </pc:sldChg>
      <pc:sldChg chg="del">
        <pc:chgData name="Johanna Marx" userId="f7883e6b-b8f5-49bd-97ed-29afbba9d34b" providerId="ADAL" clId="{BFF0D389-B892-4D7B-A975-B893E75C7785}" dt="2024-07-07T12:20:01.509" v="313" actId="47"/>
        <pc:sldMkLst>
          <pc:docMk/>
          <pc:sldMk cId="0" sldId="279"/>
        </pc:sldMkLst>
      </pc:sldChg>
      <pc:sldChg chg="addSp delSp modSp new del mod ord">
        <pc:chgData name="Johanna Marx" userId="f7883e6b-b8f5-49bd-97ed-29afbba9d34b" providerId="ADAL" clId="{BFF0D389-B892-4D7B-A975-B893E75C7785}" dt="2024-07-07T12:50:19.449" v="1291" actId="47"/>
        <pc:sldMkLst>
          <pc:docMk/>
          <pc:sldMk cId="3205643255" sldId="279"/>
        </pc:sldMkLst>
      </pc:sldChg>
      <pc:sldChg chg="delSp add del mod">
        <pc:chgData name="Johanna Marx" userId="f7883e6b-b8f5-49bd-97ed-29afbba9d34b" providerId="ADAL" clId="{BFF0D389-B892-4D7B-A975-B893E75C7785}" dt="2024-07-07T12:50:23.436" v="1292" actId="47"/>
        <pc:sldMkLst>
          <pc:docMk/>
          <pc:sldMk cId="4285054278" sldId="280"/>
        </pc:sldMkLst>
      </pc:sldChg>
      <pc:sldChg chg="new del">
        <pc:chgData name="Johanna Marx" userId="f7883e6b-b8f5-49bd-97ed-29afbba9d34b" providerId="ADAL" clId="{BFF0D389-B892-4D7B-A975-B893E75C7785}" dt="2024-07-07T12:44:48.512" v="975" actId="47"/>
        <pc:sldMkLst>
          <pc:docMk/>
          <pc:sldMk cId="55685880" sldId="281"/>
        </pc:sldMkLst>
      </pc:sldChg>
      <pc:sldChg chg="new del">
        <pc:chgData name="Johanna Marx" userId="f7883e6b-b8f5-49bd-97ed-29afbba9d34b" providerId="ADAL" clId="{BFF0D389-B892-4D7B-A975-B893E75C7785}" dt="2024-07-07T12:48:10.973" v="1110" actId="47"/>
        <pc:sldMkLst>
          <pc:docMk/>
          <pc:sldMk cId="328155447" sldId="281"/>
        </pc:sldMkLst>
      </pc:sldChg>
      <pc:sldChg chg="addSp delSp modSp del mod addCm delCm">
        <pc:chgData name="Johanna Marx" userId="f7883e6b-b8f5-49bd-97ed-29afbba9d34b" providerId="ADAL" clId="{BFF0D389-B892-4D7B-A975-B893E75C7785}" dt="2024-07-17T16:02:23.584" v="21341"/>
        <pc:sldMkLst>
          <pc:docMk/>
          <pc:sldMk cId="2457093950" sldId="281"/>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16:02:23.584" v="21341"/>
              <pc2:cmMkLst xmlns:pc2="http://schemas.microsoft.com/office/powerpoint/2019/9/main/command">
                <pc:docMk/>
                <pc:sldMk cId="2457093950" sldId="281"/>
                <pc2:cmMk id="{97DFDA25-9060-482A-8369-BDAE27D666FF}"/>
              </pc2:cmMkLst>
            </pc226:cmChg>
          </p:ext>
        </pc:extLst>
      </pc:sldChg>
      <pc:sldChg chg="addSp delSp modSp add del mod">
        <pc:chgData name="Johanna Marx" userId="f7883e6b-b8f5-49bd-97ed-29afbba9d34b" providerId="ADAL" clId="{BFF0D389-B892-4D7B-A975-B893E75C7785}" dt="2024-07-07T12:53:48.680" v="1483" actId="47"/>
        <pc:sldMkLst>
          <pc:docMk/>
          <pc:sldMk cId="3971420670" sldId="282"/>
        </pc:sldMkLst>
      </pc:sldChg>
      <pc:sldChg chg="addSp delSp modSp new del mod ord">
        <pc:chgData name="Johanna Marx" userId="f7883e6b-b8f5-49bd-97ed-29afbba9d34b" providerId="ADAL" clId="{BFF0D389-B892-4D7B-A975-B893E75C7785}" dt="2024-07-08T18:51:24.484" v="7371" actId="47"/>
        <pc:sldMkLst>
          <pc:docMk/>
          <pc:sldMk cId="1623145960" sldId="283"/>
        </pc:sldMkLst>
      </pc:sldChg>
      <pc:sldChg chg="del">
        <pc:chgData name="Johanna Marx" userId="f7883e6b-b8f5-49bd-97ed-29afbba9d34b" providerId="ADAL" clId="{BFF0D389-B892-4D7B-A975-B893E75C7785}" dt="2024-07-07T12:20:01.509" v="313" actId="47"/>
        <pc:sldMkLst>
          <pc:docMk/>
          <pc:sldMk cId="0" sldId="284"/>
        </pc:sldMkLst>
      </pc:sldChg>
      <pc:sldChg chg="addSp delSp modSp new del mod">
        <pc:chgData name="Johanna Marx" userId="f7883e6b-b8f5-49bd-97ed-29afbba9d34b" providerId="ADAL" clId="{BFF0D389-B892-4D7B-A975-B893E75C7785}" dt="2024-07-07T13:14:01.784" v="1865" actId="47"/>
        <pc:sldMkLst>
          <pc:docMk/>
          <pc:sldMk cId="3679467316" sldId="284"/>
        </pc:sldMkLst>
      </pc:sldChg>
      <pc:sldChg chg="addSp delSp modSp new mod delCm modCm">
        <pc:chgData name="Johanna Marx" userId="f7883e6b-b8f5-49bd-97ed-29afbba9d34b" providerId="ADAL" clId="{BFF0D389-B892-4D7B-A975-B893E75C7785}" dt="2024-07-17T17:18:38.153" v="22997" actId="108"/>
        <pc:sldMkLst>
          <pc:docMk/>
          <pc:sldMk cId="1601966315" sldId="285"/>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24:20.823" v="7335"/>
              <pc2:cmMkLst xmlns:pc2="http://schemas.microsoft.com/office/powerpoint/2019/9/main/command">
                <pc:docMk/>
                <pc:sldMk cId="1601966315" sldId="285"/>
                <pc2:cmMk id="{0120485A-05F1-4FFF-A5E7-8BEBA526BE98}"/>
              </pc2:cmMkLst>
            </pc226:cmChg>
            <pc226:cmChg xmlns:pc226="http://schemas.microsoft.com/office/powerpoint/2022/06/main/command" chg="add del">
              <pc226:chgData name="Johanna Marx" userId="f7883e6b-b8f5-49bd-97ed-29afbba9d34b" providerId="ADAL" clId="{BFF0D389-B892-4D7B-A975-B893E75C7785}" dt="2024-07-10T13:12:29.628" v="7506"/>
              <pc2:cmMkLst xmlns:pc2="http://schemas.microsoft.com/office/powerpoint/2019/9/main/command">
                <pc:docMk/>
                <pc:sldMk cId="1601966315" sldId="285"/>
                <pc2:cmMk id="{AB9580BB-93F0-4EEA-890A-EF7E949E0467}"/>
              </pc2:cmMkLst>
            </pc226:cmChg>
            <pc226:cmChg xmlns:pc226="http://schemas.microsoft.com/office/powerpoint/2022/06/main/command" chg="add del mod">
              <pc226:chgData name="Johanna Marx" userId="f7883e6b-b8f5-49bd-97ed-29afbba9d34b" providerId="ADAL" clId="{BFF0D389-B892-4D7B-A975-B893E75C7785}" dt="2024-07-10T13:12:37.894" v="7508"/>
              <pc2:cmMkLst xmlns:pc2="http://schemas.microsoft.com/office/powerpoint/2019/9/main/command">
                <pc:docMk/>
                <pc:sldMk cId="1601966315" sldId="285"/>
                <pc2:cmMk id="{79A287CA-1087-4174-A22A-8F1F6D071488}"/>
              </pc2:cmMkLst>
            </pc226:cmChg>
          </p:ext>
        </pc:extLst>
      </pc:sldChg>
      <pc:sldChg chg="modSp new del mod">
        <pc:chgData name="Johanna Marx" userId="f7883e6b-b8f5-49bd-97ed-29afbba9d34b" providerId="ADAL" clId="{BFF0D389-B892-4D7B-A975-B893E75C7785}" dt="2024-07-07T13:15:04.442" v="1878" actId="47"/>
        <pc:sldMkLst>
          <pc:docMk/>
          <pc:sldMk cId="2913117896" sldId="286"/>
        </pc:sldMkLst>
      </pc:sldChg>
      <pc:sldChg chg="addSp delSp modSp del mod">
        <pc:chgData name="Johanna Marx" userId="f7883e6b-b8f5-49bd-97ed-29afbba9d34b" providerId="ADAL" clId="{BFF0D389-B892-4D7B-A975-B893E75C7785}" dt="2024-07-17T16:30:31.483" v="21779" actId="1036"/>
        <pc:sldMkLst>
          <pc:docMk/>
          <pc:sldMk cId="3573279774" sldId="286"/>
        </pc:sldMkLst>
      </pc:sldChg>
      <pc:sldChg chg="addSp delSp modSp add del mod ord addCm delCm">
        <pc:chgData name="Johanna Marx" userId="f7883e6b-b8f5-49bd-97ed-29afbba9d34b" providerId="ADAL" clId="{BFF0D389-B892-4D7B-A975-B893E75C7785}" dt="2024-07-17T17:18:43.626" v="22998" actId="108"/>
        <pc:sldMkLst>
          <pc:docMk/>
          <pc:sldMk cId="3553033900" sldId="287"/>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36:48.614" v="7336"/>
              <pc2:cmMkLst xmlns:pc2="http://schemas.microsoft.com/office/powerpoint/2019/9/main/command">
                <pc:docMk/>
                <pc:sldMk cId="3553033900" sldId="287"/>
                <pc2:cmMk id="{4DB08BC4-C17A-482F-B716-E7A64054768B}"/>
              </pc2:cmMkLst>
            </pc226:cmChg>
          </p:ext>
        </pc:extLst>
      </pc:sldChg>
      <pc:sldChg chg="addSp delSp modSp del mod">
        <pc:chgData name="Johanna Marx" userId="f7883e6b-b8f5-49bd-97ed-29afbba9d34b" providerId="ADAL" clId="{BFF0D389-B892-4D7B-A975-B893E75C7785}" dt="2024-07-16T19:12:47.458" v="18444" actId="20577"/>
        <pc:sldMkLst>
          <pc:docMk/>
          <pc:sldMk cId="3419489590" sldId="288"/>
        </pc:sldMkLst>
      </pc:sldChg>
      <pc:sldChg chg="addSp delSp modSp new mod ord delCm">
        <pc:chgData name="Johanna Marx" userId="f7883e6b-b8f5-49bd-97ed-29afbba9d34b" providerId="ADAL" clId="{BFF0D389-B892-4D7B-A975-B893E75C7785}" dt="2024-07-17T17:18:49.009" v="22999" actId="108"/>
        <pc:sldMkLst>
          <pc:docMk/>
          <pc:sldMk cId="3909716140" sldId="289"/>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41:54.695" v="7337"/>
              <pc2:cmMkLst xmlns:pc2="http://schemas.microsoft.com/office/powerpoint/2019/9/main/command">
                <pc:docMk/>
                <pc:sldMk cId="3909716140" sldId="289"/>
                <pc2:cmMk id="{E9B70EC7-8704-4D60-87F6-3917E5A6023F}"/>
              </pc2:cmMkLst>
            </pc226:cmChg>
          </p:ext>
        </pc:extLst>
      </pc:sldChg>
      <pc:sldChg chg="addSp delSp modSp del mod">
        <pc:chgData name="Johanna Marx" userId="f7883e6b-b8f5-49bd-97ed-29afbba9d34b" providerId="ADAL" clId="{BFF0D389-B892-4D7B-A975-B893E75C7785}" dt="2024-07-17T16:33:28.790" v="21963" actId="1076"/>
        <pc:sldMkLst>
          <pc:docMk/>
          <pc:sldMk cId="1836807439" sldId="290"/>
        </pc:sldMkLst>
      </pc:sldChg>
      <pc:sldChg chg="addSp delSp modSp new mod">
        <pc:chgData name="Johanna Marx" userId="f7883e6b-b8f5-49bd-97ed-29afbba9d34b" providerId="ADAL" clId="{BFF0D389-B892-4D7B-A975-B893E75C7785}" dt="2024-07-17T17:54:11.493" v="24034" actId="1076"/>
        <pc:sldMkLst>
          <pc:docMk/>
          <pc:sldMk cId="3118018366" sldId="291"/>
        </pc:sldMkLst>
      </pc:sldChg>
      <pc:sldChg chg="addSp delSp modSp new mod">
        <pc:chgData name="Johanna Marx" userId="f7883e6b-b8f5-49bd-97ed-29afbba9d34b" providerId="ADAL" clId="{BFF0D389-B892-4D7B-A975-B893E75C7785}" dt="2024-07-10T15:53:11.943" v="9652" actId="20577"/>
        <pc:sldMkLst>
          <pc:docMk/>
          <pc:sldMk cId="3807836379" sldId="292"/>
        </pc:sldMkLst>
      </pc:sldChg>
      <pc:sldChg chg="delSp modSp del mod">
        <pc:chgData name="Johanna Marx" userId="f7883e6b-b8f5-49bd-97ed-29afbba9d34b" providerId="ADAL" clId="{BFF0D389-B892-4D7B-A975-B893E75C7785}" dt="2024-07-10T15:43:04.974" v="9377" actId="47"/>
        <pc:sldMkLst>
          <pc:docMk/>
          <pc:sldMk cId="2861125733" sldId="293"/>
        </pc:sldMkLst>
      </pc:sldChg>
      <pc:sldChg chg="addSp delSp modSp del mod">
        <pc:chgData name="Johanna Marx" userId="f7883e6b-b8f5-49bd-97ed-29afbba9d34b" providerId="ADAL" clId="{BFF0D389-B892-4D7B-A975-B893E75C7785}" dt="2024-07-10T15:42:11.758" v="9371" actId="20577"/>
        <pc:sldMkLst>
          <pc:docMk/>
          <pc:sldMk cId="3642159981" sldId="294"/>
        </pc:sldMkLst>
      </pc:sldChg>
      <pc:sldChg chg="addSp delSp modSp del mod addCm delCm">
        <pc:chgData name="Johanna Marx" userId="f7883e6b-b8f5-49bd-97ed-29afbba9d34b" providerId="ADAL" clId="{BFF0D389-B892-4D7B-A975-B893E75C7785}" dt="2024-07-17T17:19:02.029" v="23004" actId="108"/>
        <pc:sldMkLst>
          <pc:docMk/>
          <pc:sldMk cId="1360738081" sldId="295"/>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53:18.008" v="7372"/>
              <pc2:cmMkLst xmlns:pc2="http://schemas.microsoft.com/office/powerpoint/2019/9/main/command">
                <pc:docMk/>
                <pc:sldMk cId="1360738081" sldId="295"/>
                <pc2:cmMk id="{23FBD64D-1C7F-4EAB-8B54-B81B4FC3C256}"/>
              </pc2:cmMkLst>
            </pc226:cmChg>
            <pc226:cmChg xmlns:pc226="http://schemas.microsoft.com/office/powerpoint/2022/06/main/command" chg="add del">
              <pc226:chgData name="Johanna Marx" userId="f7883e6b-b8f5-49bd-97ed-29afbba9d34b" providerId="ADAL" clId="{BFF0D389-B892-4D7B-A975-B893E75C7785}" dt="2024-07-08T18:55:12.893" v="7373"/>
              <pc2:cmMkLst xmlns:pc2="http://schemas.microsoft.com/office/powerpoint/2019/9/main/command">
                <pc:docMk/>
                <pc:sldMk cId="1360738081" sldId="295"/>
                <pc2:cmMk id="{D7F01276-A537-4EAF-B5FE-306923B7D88B}"/>
              </pc2:cmMkLst>
            </pc226:cmChg>
          </p:ext>
        </pc:extLst>
      </pc:sldChg>
      <pc:sldChg chg="del">
        <pc:chgData name="Johanna Marx" userId="f7883e6b-b8f5-49bd-97ed-29afbba9d34b" providerId="ADAL" clId="{BFF0D389-B892-4D7B-A975-B893E75C7785}" dt="2024-07-08T09:31:18.972" v="6912" actId="47"/>
        <pc:sldMkLst>
          <pc:docMk/>
          <pc:sldMk cId="2387900259" sldId="296"/>
        </pc:sldMkLst>
      </pc:sldChg>
      <pc:sldChg chg="addSp delSp modSp new mod">
        <pc:chgData name="Johanna Marx" userId="f7883e6b-b8f5-49bd-97ed-29afbba9d34b" providerId="ADAL" clId="{BFF0D389-B892-4D7B-A975-B893E75C7785}" dt="2024-07-11T08:13:26.907" v="11428" actId="14100"/>
        <pc:sldMkLst>
          <pc:docMk/>
          <pc:sldMk cId="1997358788" sldId="297"/>
        </pc:sldMkLst>
      </pc:sldChg>
      <pc:sldChg chg="addSp delSp modSp new mod">
        <pc:chgData name="Johanna Marx" userId="f7883e6b-b8f5-49bd-97ed-29afbba9d34b" providerId="ADAL" clId="{BFF0D389-B892-4D7B-A975-B893E75C7785}" dt="2024-07-17T06:41:48.695" v="19364" actId="1036"/>
        <pc:sldMkLst>
          <pc:docMk/>
          <pc:sldMk cId="2451751709" sldId="298"/>
        </pc:sldMkLst>
      </pc:sldChg>
      <pc:sldChg chg="addSp delSp modSp new mod">
        <pc:chgData name="Johanna Marx" userId="f7883e6b-b8f5-49bd-97ed-29afbba9d34b" providerId="ADAL" clId="{BFF0D389-B892-4D7B-A975-B893E75C7785}" dt="2024-07-17T17:19:36.074" v="23009" actId="108"/>
        <pc:sldMkLst>
          <pc:docMk/>
          <pc:sldMk cId="3394550179" sldId="299"/>
        </pc:sldMkLst>
      </pc:sldChg>
      <pc:sldChg chg="addSp delSp modSp new mod">
        <pc:chgData name="Johanna Marx" userId="f7883e6b-b8f5-49bd-97ed-29afbba9d34b" providerId="ADAL" clId="{BFF0D389-B892-4D7B-A975-B893E75C7785}" dt="2024-07-17T17:20:08.849" v="23012" actId="478"/>
        <pc:sldMkLst>
          <pc:docMk/>
          <pc:sldMk cId="3143837598" sldId="300"/>
        </pc:sldMkLst>
      </pc:sldChg>
      <pc:sldChg chg="addSp delSp modSp add mod addCm delCm modCm">
        <pc:chgData name="Johanna Marx" userId="f7883e6b-b8f5-49bd-97ed-29afbba9d34b" providerId="ADAL" clId="{BFF0D389-B892-4D7B-A975-B893E75C7785}" dt="2024-07-17T17:24:41.027" v="23172" actId="20577"/>
        <pc:sldMkLst>
          <pc:docMk/>
          <pc:sldMk cId="855508414" sldId="301"/>
        </pc:sldMkLst>
        <pc:extLst>
          <p:ext xmlns:p="http://schemas.openxmlformats.org/presentationml/2006/main" uri="{D6D511B9-2390-475A-947B-AFAB55BFBCF1}">
            <pc226:cmChg xmlns:pc226="http://schemas.microsoft.com/office/powerpoint/2022/06/main/command" chg="del mod">
              <pc226:chgData name="Johanna Marx" userId="f7883e6b-b8f5-49bd-97ed-29afbba9d34b" providerId="ADAL" clId="{BFF0D389-B892-4D7B-A975-B893E75C7785}" dt="2024-07-17T07:25:31.131" v="20376"/>
              <pc2:cmMkLst xmlns:pc2="http://schemas.microsoft.com/office/powerpoint/2019/9/main/command">
                <pc:docMk/>
                <pc:sldMk cId="855508414" sldId="301"/>
                <pc2:cmMk id="{D895E22C-1233-4AAA-B714-A0A94C98AB54}"/>
              </pc2:cmMkLst>
              <pc226:cmRplyChg chg="add">
                <pc226:chgData name="Johanna Marx" userId="f7883e6b-b8f5-49bd-97ed-29afbba9d34b" providerId="ADAL" clId="{BFF0D389-B892-4D7B-A975-B893E75C7785}" dt="2024-07-15T14:01:21.591" v="13702"/>
                <pc2:cmRplyMkLst xmlns:pc2="http://schemas.microsoft.com/office/powerpoint/2019/9/main/command">
                  <pc:docMk/>
                  <pc:sldMk cId="855508414" sldId="301"/>
                  <pc2:cmMk id="{D895E22C-1233-4AAA-B714-A0A94C98AB54}"/>
                  <pc2:cmRplyMk id="{1E717F5B-63A9-4E90-927F-1D9CA930B3EB}"/>
                </pc2:cmRplyMkLst>
              </pc226:cmRplyChg>
            </pc226:cmChg>
            <pc226:cmChg xmlns:pc226="http://schemas.microsoft.com/office/powerpoint/2022/06/main/command" chg="add del mod">
              <pc226:chgData name="Johanna Marx" userId="f7883e6b-b8f5-49bd-97ed-29afbba9d34b" providerId="ADAL" clId="{BFF0D389-B892-4D7B-A975-B893E75C7785}" dt="2024-07-08T09:09:17.558" v="6739"/>
              <pc2:cmMkLst xmlns:pc2="http://schemas.microsoft.com/office/powerpoint/2019/9/main/command">
                <pc:docMk/>
                <pc:sldMk cId="855508414" sldId="301"/>
                <pc2:cmMk id="{531A2760-E4ED-4A08-B1D7-76EBAF010E0D}"/>
              </pc2:cmMkLst>
            </pc226:cmChg>
          </p:ext>
        </pc:extLst>
      </pc:sldChg>
      <pc:sldChg chg="addSp delSp modSp new del mod">
        <pc:chgData name="Johanna Marx" userId="f7883e6b-b8f5-49bd-97ed-29afbba9d34b" providerId="ADAL" clId="{BFF0D389-B892-4D7B-A975-B893E75C7785}" dt="2024-07-08T08:17:10.101" v="5994" actId="47"/>
        <pc:sldMkLst>
          <pc:docMk/>
          <pc:sldMk cId="2139969359" sldId="302"/>
        </pc:sldMkLst>
      </pc:sldChg>
      <pc:sldChg chg="addSp delSp modSp new mod ord addCm delCm modCm">
        <pc:chgData name="Johanna Marx" userId="f7883e6b-b8f5-49bd-97ed-29afbba9d34b" providerId="ADAL" clId="{BFF0D389-B892-4D7B-A975-B893E75C7785}" dt="2024-07-17T15:20:10.621" v="20485"/>
        <pc:sldMkLst>
          <pc:docMk/>
          <pc:sldMk cId="2738800295" sldId="302"/>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17T15:20:10.621" v="20485"/>
              <pc2:cmMkLst xmlns:pc2="http://schemas.microsoft.com/office/powerpoint/2019/9/main/command">
                <pc:docMk/>
                <pc:sldMk cId="2738800295" sldId="302"/>
                <pc2:cmMk id="{8F6F4D84-5923-44C9-BEF9-B8B2C15A256A}"/>
              </pc2:cmMkLst>
            </pc226:cmChg>
          </p:ext>
        </pc:extLst>
      </pc:sldChg>
      <pc:sldChg chg="modSp add mod">
        <pc:chgData name="Johanna Marx" userId="f7883e6b-b8f5-49bd-97ed-29afbba9d34b" providerId="ADAL" clId="{BFF0D389-B892-4D7B-A975-B893E75C7785}" dt="2024-07-08T08:36:49.626" v="6323" actId="20577"/>
        <pc:sldMkLst>
          <pc:docMk/>
          <pc:sldMk cId="1608053785" sldId="303"/>
        </pc:sldMkLst>
      </pc:sldChg>
      <pc:sldChg chg="addSp delSp modSp new mod addCm delCm modCm">
        <pc:chgData name="Johanna Marx" userId="f7883e6b-b8f5-49bd-97ed-29afbba9d34b" providerId="ADAL" clId="{BFF0D389-B892-4D7B-A975-B893E75C7785}" dt="2024-07-17T06:28:52.179" v="18879" actId="1076"/>
        <pc:sldMkLst>
          <pc:docMk/>
          <pc:sldMk cId="2977954321" sldId="304"/>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06:28:30.484" v="18876"/>
              <pc2:cmMkLst xmlns:pc2="http://schemas.microsoft.com/office/powerpoint/2019/9/main/command">
                <pc:docMk/>
                <pc:sldMk cId="2977954321" sldId="304"/>
                <pc2:cmMk id="{D15B8A63-FE04-4F9B-9037-1BC63A35040A}"/>
              </pc2:cmMkLst>
            </pc226:cmChg>
            <pc226:cmChg xmlns:pc226="http://schemas.microsoft.com/office/powerpoint/2022/06/main/command" chg="add del mod">
              <pc226:chgData name="Johanna Marx" userId="f7883e6b-b8f5-49bd-97ed-29afbba9d34b" providerId="ADAL" clId="{BFF0D389-B892-4D7B-A975-B893E75C7785}" dt="2024-07-17T06:28:28.703" v="18875"/>
              <pc2:cmMkLst xmlns:pc2="http://schemas.microsoft.com/office/powerpoint/2019/9/main/command">
                <pc:docMk/>
                <pc:sldMk cId="2977954321" sldId="304"/>
                <pc2:cmMk id="{62F6486F-00F4-4909-B2AC-816A058E57BD}"/>
              </pc2:cmMkLst>
            </pc226:cmChg>
          </p:ext>
        </pc:extLst>
      </pc:sldChg>
      <pc:sldChg chg="addSp delSp modSp new mod">
        <pc:chgData name="Johanna Marx" userId="f7883e6b-b8f5-49bd-97ed-29afbba9d34b" providerId="ADAL" clId="{BFF0D389-B892-4D7B-A975-B893E75C7785}" dt="2024-07-17T16:34:41.647" v="21974" actId="1076"/>
        <pc:sldMkLst>
          <pc:docMk/>
          <pc:sldMk cId="1340192637" sldId="305"/>
        </pc:sldMkLst>
      </pc:sldChg>
      <pc:sldChg chg="add del">
        <pc:chgData name="Johanna Marx" userId="f7883e6b-b8f5-49bd-97ed-29afbba9d34b" providerId="ADAL" clId="{BFF0D389-B892-4D7B-A975-B893E75C7785}" dt="2024-07-08T09:15:28.883" v="6806" actId="47"/>
        <pc:sldMkLst>
          <pc:docMk/>
          <pc:sldMk cId="1924327235" sldId="306"/>
        </pc:sldMkLst>
      </pc:sldChg>
      <pc:sldChg chg="addSp delSp modSp new mod addCm delCm modCm">
        <pc:chgData name="Johanna Marx" userId="f7883e6b-b8f5-49bd-97ed-29afbba9d34b" providerId="ADAL" clId="{BFF0D389-B892-4D7B-A975-B893E75C7785}" dt="2024-07-17T17:19:06.152" v="23005" actId="108"/>
        <pc:sldMkLst>
          <pc:docMk/>
          <pc:sldMk cId="3109028800" sldId="306"/>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08T18:55:58.243" v="7375"/>
              <pc2:cmMkLst xmlns:pc2="http://schemas.microsoft.com/office/powerpoint/2019/9/main/command">
                <pc:docMk/>
                <pc:sldMk cId="3109028800" sldId="306"/>
                <pc2:cmMk id="{42A02495-6A11-4A64-A7E2-B416C8C49DD0}"/>
              </pc2:cmMkLst>
            </pc226:cmChg>
          </p:ext>
        </pc:extLst>
      </pc:sldChg>
      <pc:sldChg chg="addSp delSp modSp new mod ord">
        <pc:chgData name="Johanna Marx" userId="f7883e6b-b8f5-49bd-97ed-29afbba9d34b" providerId="ADAL" clId="{BFF0D389-B892-4D7B-A975-B893E75C7785}" dt="2024-07-15T14:17:08.252" v="14109" actId="114"/>
        <pc:sldMkLst>
          <pc:docMk/>
          <pc:sldMk cId="656948936" sldId="307"/>
        </pc:sldMkLst>
      </pc:sldChg>
      <pc:sldChg chg="addSp delSp modSp new mod">
        <pc:chgData name="Johanna Marx" userId="f7883e6b-b8f5-49bd-97ed-29afbba9d34b" providerId="ADAL" clId="{BFF0D389-B892-4D7B-A975-B893E75C7785}" dt="2024-07-17T16:38:08.475" v="22224" actId="1038"/>
        <pc:sldMkLst>
          <pc:docMk/>
          <pc:sldMk cId="2790215641" sldId="308"/>
        </pc:sldMkLst>
      </pc:sldChg>
      <pc:sldChg chg="new del">
        <pc:chgData name="Johanna Marx" userId="f7883e6b-b8f5-49bd-97ed-29afbba9d34b" providerId="ADAL" clId="{BFF0D389-B892-4D7B-A975-B893E75C7785}" dt="2024-07-08T09:40:16.172" v="7081" actId="47"/>
        <pc:sldMkLst>
          <pc:docMk/>
          <pc:sldMk cId="2974417790" sldId="308"/>
        </pc:sldMkLst>
      </pc:sldChg>
      <pc:sldChg chg="addSp delSp modSp new mod">
        <pc:chgData name="Johanna Marx" userId="f7883e6b-b8f5-49bd-97ed-29afbba9d34b" providerId="ADAL" clId="{BFF0D389-B892-4D7B-A975-B893E75C7785}" dt="2024-07-17T16:37:26.127" v="22156" actId="1037"/>
        <pc:sldMkLst>
          <pc:docMk/>
          <pc:sldMk cId="3944894673" sldId="309"/>
        </pc:sldMkLst>
      </pc:sldChg>
      <pc:sldChg chg="addSp delSp modSp new del mod">
        <pc:chgData name="Johanna Marx" userId="f7883e6b-b8f5-49bd-97ed-29afbba9d34b" providerId="ADAL" clId="{BFF0D389-B892-4D7B-A975-B893E75C7785}" dt="2024-07-10T14:13:56.081" v="8622" actId="47"/>
        <pc:sldMkLst>
          <pc:docMk/>
          <pc:sldMk cId="2861326746" sldId="310"/>
        </pc:sldMkLst>
      </pc:sldChg>
      <pc:sldChg chg="addSp delSp modSp add mod ord">
        <pc:chgData name="Johanna Marx" userId="f7883e6b-b8f5-49bd-97ed-29afbba9d34b" providerId="ADAL" clId="{BFF0D389-B892-4D7B-A975-B893E75C7785}" dt="2024-07-17T06:23:50.615" v="18640"/>
        <pc:sldMkLst>
          <pc:docMk/>
          <pc:sldMk cId="4118735400" sldId="311"/>
        </pc:sldMkLst>
      </pc:sldChg>
      <pc:sldChg chg="addSp delSp modSp new mod">
        <pc:chgData name="Johanna Marx" userId="f7883e6b-b8f5-49bd-97ed-29afbba9d34b" providerId="ADAL" clId="{BFF0D389-B892-4D7B-A975-B893E75C7785}" dt="2024-07-17T16:32:50.754" v="21891" actId="1038"/>
        <pc:sldMkLst>
          <pc:docMk/>
          <pc:sldMk cId="1054077313" sldId="312"/>
        </pc:sldMkLst>
      </pc:sldChg>
      <pc:sldChg chg="addSp delSp modSp new mod">
        <pc:chgData name="Johanna Marx" userId="f7883e6b-b8f5-49bd-97ed-29afbba9d34b" providerId="ADAL" clId="{BFF0D389-B892-4D7B-A975-B893E75C7785}" dt="2024-07-11T07:53:00.258" v="10826" actId="14100"/>
        <pc:sldMkLst>
          <pc:docMk/>
          <pc:sldMk cId="1288072368" sldId="313"/>
        </pc:sldMkLst>
      </pc:sldChg>
      <pc:sldChg chg="addSp delSp modSp new mod">
        <pc:chgData name="Johanna Marx" userId="f7883e6b-b8f5-49bd-97ed-29afbba9d34b" providerId="ADAL" clId="{BFF0D389-B892-4D7B-A975-B893E75C7785}" dt="2024-07-17T16:35:45.636" v="21990" actId="1076"/>
        <pc:sldMkLst>
          <pc:docMk/>
          <pc:sldMk cId="767817792" sldId="314"/>
        </pc:sldMkLst>
      </pc:sldChg>
      <pc:sldChg chg="addSp delSp modSp new mod ord">
        <pc:chgData name="Johanna Marx" userId="f7883e6b-b8f5-49bd-97ed-29afbba9d34b" providerId="ADAL" clId="{BFF0D389-B892-4D7B-A975-B893E75C7785}" dt="2024-07-17T16:31:25.709" v="21790" actId="1076"/>
        <pc:sldMkLst>
          <pc:docMk/>
          <pc:sldMk cId="3420601596" sldId="315"/>
        </pc:sldMkLst>
      </pc:sldChg>
      <pc:sldChg chg="modSp add del mod ord">
        <pc:chgData name="Johanna Marx" userId="f7883e6b-b8f5-49bd-97ed-29afbba9d34b" providerId="ADAL" clId="{BFF0D389-B892-4D7B-A975-B893E75C7785}" dt="2024-07-11T10:06:31.401" v="13224" actId="47"/>
        <pc:sldMkLst>
          <pc:docMk/>
          <pc:sldMk cId="1754843976" sldId="316"/>
        </pc:sldMkLst>
      </pc:sldChg>
      <pc:sldChg chg="addSp delSp modSp add mod ord addCm delCm modCm">
        <pc:chgData name="Johanna Marx" userId="f7883e6b-b8f5-49bd-97ed-29afbba9d34b" providerId="ADAL" clId="{BFF0D389-B892-4D7B-A975-B893E75C7785}" dt="2024-07-17T17:22:33.638" v="23166" actId="478"/>
        <pc:sldMkLst>
          <pc:docMk/>
          <pc:sldMk cId="1126850562" sldId="317"/>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17T17:22:31.935" v="23165"/>
              <pc2:cmMkLst xmlns:pc2="http://schemas.microsoft.com/office/powerpoint/2019/9/main/command">
                <pc:docMk/>
                <pc:sldMk cId="1126850562" sldId="317"/>
                <pc2:cmMk id="{BC01B87E-690F-46EC-80C3-F27115905BD7}"/>
              </pc2:cmMkLst>
            </pc226:cmChg>
            <pc226:cmChg xmlns:pc226="http://schemas.microsoft.com/office/powerpoint/2022/06/main/command" chg="add del mod">
              <pc226:chgData name="Johanna Marx" userId="f7883e6b-b8f5-49bd-97ed-29afbba9d34b" providerId="ADAL" clId="{BFF0D389-B892-4D7B-A975-B893E75C7785}" dt="2024-07-17T17:22:29.457" v="23164"/>
              <pc2:cmMkLst xmlns:pc2="http://schemas.microsoft.com/office/powerpoint/2019/9/main/command">
                <pc:docMk/>
                <pc:sldMk cId="1126850562" sldId="317"/>
                <pc2:cmMk id="{0DE0CADC-1697-4306-B606-ACAEDB63640B}"/>
              </pc2:cmMkLst>
            </pc226:cmChg>
          </p:ext>
        </pc:extLst>
      </pc:sldChg>
      <pc:sldChg chg="addSp delSp modSp add mod ord">
        <pc:chgData name="Johanna Marx" userId="f7883e6b-b8f5-49bd-97ed-29afbba9d34b" providerId="ADAL" clId="{BFF0D389-B892-4D7B-A975-B893E75C7785}" dt="2024-07-17T17:19:16.059" v="23007" actId="108"/>
        <pc:sldMkLst>
          <pc:docMk/>
          <pc:sldMk cId="373550321" sldId="318"/>
        </pc:sldMkLst>
      </pc:sldChg>
      <pc:sldChg chg="addSp delSp modSp new mod">
        <pc:chgData name="Johanna Marx" userId="f7883e6b-b8f5-49bd-97ed-29afbba9d34b" providerId="ADAL" clId="{BFF0D389-B892-4D7B-A975-B893E75C7785}" dt="2024-07-17T16:42:24.379" v="22383" actId="1076"/>
        <pc:sldMkLst>
          <pc:docMk/>
          <pc:sldMk cId="2310605384" sldId="319"/>
        </pc:sldMkLst>
      </pc:sldChg>
      <pc:sldChg chg="addSp delSp modSp add mod ord">
        <pc:chgData name="Johanna Marx" userId="f7883e6b-b8f5-49bd-97ed-29afbba9d34b" providerId="ADAL" clId="{BFF0D389-B892-4D7B-A975-B893E75C7785}" dt="2024-07-17T17:19:31.656" v="23008" actId="108"/>
        <pc:sldMkLst>
          <pc:docMk/>
          <pc:sldMk cId="2685171253" sldId="320"/>
        </pc:sldMkLst>
      </pc:sldChg>
      <pc:sldChg chg="addSp delSp modSp new mod">
        <pc:chgData name="Johanna Marx" userId="f7883e6b-b8f5-49bd-97ed-29afbba9d34b" providerId="ADAL" clId="{BFF0D389-B892-4D7B-A975-B893E75C7785}" dt="2024-07-11T08:27:33.145" v="11658" actId="478"/>
        <pc:sldMkLst>
          <pc:docMk/>
          <pc:sldMk cId="1718109997" sldId="321"/>
        </pc:sldMkLst>
      </pc:sldChg>
      <pc:sldChg chg="addSp delSp modSp new mod">
        <pc:chgData name="Johanna Marx" userId="f7883e6b-b8f5-49bd-97ed-29afbba9d34b" providerId="ADAL" clId="{BFF0D389-B892-4D7B-A975-B893E75C7785}" dt="2024-07-11T08:28:38.377" v="11676" actId="14100"/>
        <pc:sldMkLst>
          <pc:docMk/>
          <pc:sldMk cId="16049607" sldId="322"/>
        </pc:sldMkLst>
      </pc:sldChg>
      <pc:sldChg chg="new del">
        <pc:chgData name="Johanna Marx" userId="f7883e6b-b8f5-49bd-97ed-29afbba9d34b" providerId="ADAL" clId="{BFF0D389-B892-4D7B-A975-B893E75C7785}" dt="2024-07-11T08:27:41.978" v="11660" actId="47"/>
        <pc:sldMkLst>
          <pc:docMk/>
          <pc:sldMk cId="867664876" sldId="322"/>
        </pc:sldMkLst>
      </pc:sldChg>
      <pc:sldChg chg="addSp delSp modSp new mod">
        <pc:chgData name="Johanna Marx" userId="f7883e6b-b8f5-49bd-97ed-29afbba9d34b" providerId="ADAL" clId="{BFF0D389-B892-4D7B-A975-B893E75C7785}" dt="2024-07-17T16:45:57.001" v="22432" actId="1076"/>
        <pc:sldMkLst>
          <pc:docMk/>
          <pc:sldMk cId="1910569066" sldId="323"/>
        </pc:sldMkLst>
      </pc:sldChg>
      <pc:sldChg chg="addSp delSp modSp new mod">
        <pc:chgData name="Johanna Marx" userId="f7883e6b-b8f5-49bd-97ed-29afbba9d34b" providerId="ADAL" clId="{BFF0D389-B892-4D7B-A975-B893E75C7785}" dt="2024-07-17T16:46:16.866" v="22434" actId="1076"/>
        <pc:sldMkLst>
          <pc:docMk/>
          <pc:sldMk cId="2591005778" sldId="324"/>
        </pc:sldMkLst>
      </pc:sldChg>
      <pc:sldChg chg="addSp delSp modSp new mod delCm modCm">
        <pc:chgData name="Johanna Marx" userId="f7883e6b-b8f5-49bd-97ed-29afbba9d34b" providerId="ADAL" clId="{BFF0D389-B892-4D7B-A975-B893E75C7785}" dt="2024-07-17T17:19:39.890" v="23010" actId="108"/>
        <pc:sldMkLst>
          <pc:docMk/>
          <pc:sldMk cId="3782668847" sldId="325"/>
        </pc:sldMkLst>
        <pc:extLst>
          <p:ext xmlns:p="http://schemas.openxmlformats.org/presentationml/2006/main" uri="{D6D511B9-2390-475A-947B-AFAB55BFBCF1}">
            <pc226:cmChg xmlns:pc226="http://schemas.microsoft.com/office/powerpoint/2022/06/main/command" chg="del mod">
              <pc226:chgData name="Johanna Marx" userId="f7883e6b-b8f5-49bd-97ed-29afbba9d34b" providerId="ADAL" clId="{BFF0D389-B892-4D7B-A975-B893E75C7785}" dt="2024-07-17T16:49:56.673" v="22479"/>
              <pc2:cmMkLst xmlns:pc2="http://schemas.microsoft.com/office/powerpoint/2019/9/main/command">
                <pc:docMk/>
                <pc:sldMk cId="3782668847" sldId="325"/>
                <pc2:cmMk id="{95C0741E-86D4-441F-A944-135A0B0FBAAE}"/>
              </pc2:cmMkLst>
            </pc226:cmChg>
          </p:ext>
        </pc:extLst>
      </pc:sldChg>
      <pc:sldChg chg="addSp delSp modSp new mod">
        <pc:chgData name="Johanna Marx" userId="f7883e6b-b8f5-49bd-97ed-29afbba9d34b" providerId="ADAL" clId="{BFF0D389-B892-4D7B-A975-B893E75C7785}" dt="2024-07-17T16:49:30.535" v="22474" actId="14100"/>
        <pc:sldMkLst>
          <pc:docMk/>
          <pc:sldMk cId="4115732553" sldId="326"/>
        </pc:sldMkLst>
      </pc:sldChg>
      <pc:sldChg chg="addSp delSp modSp new mod">
        <pc:chgData name="Johanna Marx" userId="f7883e6b-b8f5-49bd-97ed-29afbba9d34b" providerId="ADAL" clId="{BFF0D389-B892-4D7B-A975-B893E75C7785}" dt="2024-07-17T16:49:13.045" v="22468" actId="1076"/>
        <pc:sldMkLst>
          <pc:docMk/>
          <pc:sldMk cId="2654186392" sldId="327"/>
        </pc:sldMkLst>
      </pc:sldChg>
      <pc:sldChg chg="addSp delSp modSp new mod">
        <pc:chgData name="Johanna Marx" userId="f7883e6b-b8f5-49bd-97ed-29afbba9d34b" providerId="ADAL" clId="{BFF0D389-B892-4D7B-A975-B893E75C7785}" dt="2024-07-11T08:56:43.066" v="12224" actId="14100"/>
        <pc:sldMkLst>
          <pc:docMk/>
          <pc:sldMk cId="915207829" sldId="328"/>
        </pc:sldMkLst>
      </pc:sldChg>
      <pc:sldChg chg="delSp new del mod">
        <pc:chgData name="Johanna Marx" userId="f7883e6b-b8f5-49bd-97ed-29afbba9d34b" providerId="ADAL" clId="{BFF0D389-B892-4D7B-A975-B893E75C7785}" dt="2024-07-11T08:55:52.349" v="12214" actId="47"/>
        <pc:sldMkLst>
          <pc:docMk/>
          <pc:sldMk cId="2311418506" sldId="328"/>
        </pc:sldMkLst>
      </pc:sldChg>
      <pc:sldChg chg="addSp delSp modSp new mod ord">
        <pc:chgData name="Johanna Marx" userId="f7883e6b-b8f5-49bd-97ed-29afbba9d34b" providerId="ADAL" clId="{BFF0D389-B892-4D7B-A975-B893E75C7785}" dt="2024-07-17T07:13:24.439" v="20004"/>
        <pc:sldMkLst>
          <pc:docMk/>
          <pc:sldMk cId="2059201764" sldId="329"/>
        </pc:sldMkLst>
      </pc:sldChg>
      <pc:sldChg chg="addSp delSp modSp new mod">
        <pc:chgData name="Johanna Marx" userId="f7883e6b-b8f5-49bd-97ed-29afbba9d34b" providerId="ADAL" clId="{BFF0D389-B892-4D7B-A975-B893E75C7785}" dt="2024-07-17T17:56:25.614" v="24103" actId="1035"/>
        <pc:sldMkLst>
          <pc:docMk/>
          <pc:sldMk cId="1263294924" sldId="330"/>
        </pc:sldMkLst>
      </pc:sldChg>
      <pc:sldChg chg="addSp delSp modSp new mod">
        <pc:chgData name="Johanna Marx" userId="f7883e6b-b8f5-49bd-97ed-29afbba9d34b" providerId="ADAL" clId="{BFF0D389-B892-4D7B-A975-B893E75C7785}" dt="2024-07-17T17:56:59.056" v="24105" actId="20577"/>
        <pc:sldMkLst>
          <pc:docMk/>
          <pc:sldMk cId="3545089216" sldId="331"/>
        </pc:sldMkLst>
      </pc:sldChg>
      <pc:sldChg chg="addSp delSp modSp new mod">
        <pc:chgData name="Johanna Marx" userId="f7883e6b-b8f5-49bd-97ed-29afbba9d34b" providerId="ADAL" clId="{BFF0D389-B892-4D7B-A975-B893E75C7785}" dt="2024-07-11T09:34:52.375" v="12890" actId="5793"/>
        <pc:sldMkLst>
          <pc:docMk/>
          <pc:sldMk cId="659666124" sldId="332"/>
        </pc:sldMkLst>
      </pc:sldChg>
      <pc:sldChg chg="addSp delSp modSp new mod">
        <pc:chgData name="Johanna Marx" userId="f7883e6b-b8f5-49bd-97ed-29afbba9d34b" providerId="ADAL" clId="{BFF0D389-B892-4D7B-A975-B893E75C7785}" dt="2024-07-17T17:57:04.492" v="24109" actId="20577"/>
        <pc:sldMkLst>
          <pc:docMk/>
          <pc:sldMk cId="1361510755" sldId="333"/>
        </pc:sldMkLst>
      </pc:sldChg>
      <pc:sldChg chg="addSp delSp modSp add mod ord addCm modCm">
        <pc:chgData name="Johanna Marx" userId="f7883e6b-b8f5-49bd-97ed-29afbba9d34b" providerId="ADAL" clId="{BFF0D389-B892-4D7B-A975-B893E75C7785}" dt="2024-07-17T06:51:11.581" v="19570"/>
        <pc:sldMkLst>
          <pc:docMk/>
          <pc:sldMk cId="1558425071" sldId="334"/>
        </pc:sldMkLst>
        <pc:extLst>
          <p:ext xmlns:p="http://schemas.openxmlformats.org/presentationml/2006/main" uri="{D6D511B9-2390-475A-947B-AFAB55BFBCF1}">
            <pc226:cmChg xmlns:pc226="http://schemas.microsoft.com/office/powerpoint/2022/06/main/command" chg="add mod">
              <pc226:chgData name="Johanna Marx" userId="f7883e6b-b8f5-49bd-97ed-29afbba9d34b" providerId="ADAL" clId="{BFF0D389-B892-4D7B-A975-B893E75C7785}" dt="2024-07-17T06:51:11.581" v="19570"/>
              <pc2:cmMkLst xmlns:pc2="http://schemas.microsoft.com/office/powerpoint/2019/9/main/command">
                <pc:docMk/>
                <pc:sldMk cId="1558425071" sldId="334"/>
                <pc2:cmMk id="{BCD1F6D2-40D6-4754-9F52-D8D471DA546C}"/>
              </pc2:cmMkLst>
            </pc226:cmChg>
          </p:ext>
        </pc:extLst>
      </pc:sldChg>
      <pc:sldChg chg="addSp delSp modSp new del mod">
        <pc:chgData name="Johanna Marx" userId="f7883e6b-b8f5-49bd-97ed-29afbba9d34b" providerId="ADAL" clId="{BFF0D389-B892-4D7B-A975-B893E75C7785}" dt="2024-07-11T10:06:14.485" v="13219" actId="47"/>
        <pc:sldMkLst>
          <pc:docMk/>
          <pc:sldMk cId="2793627532" sldId="334"/>
        </pc:sldMkLst>
      </pc:sldChg>
      <pc:sldChg chg="addSp delSp modSp add del mod ord">
        <pc:chgData name="Johanna Marx" userId="f7883e6b-b8f5-49bd-97ed-29afbba9d34b" providerId="ADAL" clId="{BFF0D389-B892-4D7B-A975-B893E75C7785}" dt="2024-07-11T10:18:30.343" v="13278" actId="47"/>
        <pc:sldMkLst>
          <pc:docMk/>
          <pc:sldMk cId="3119090821" sldId="335"/>
        </pc:sldMkLst>
      </pc:sldChg>
      <pc:sldChg chg="addSp delSp modSp add mod">
        <pc:chgData name="Johanna Marx" userId="f7883e6b-b8f5-49bd-97ed-29afbba9d34b" providerId="ADAL" clId="{BFF0D389-B892-4D7B-A975-B893E75C7785}" dt="2024-07-17T15:16:48.049" v="20469" actId="478"/>
        <pc:sldMkLst>
          <pc:docMk/>
          <pc:sldMk cId="2974701433" sldId="336"/>
        </pc:sldMkLst>
      </pc:sldChg>
      <pc:sldChg chg="addSp modSp add del mod ord">
        <pc:chgData name="Johanna Marx" userId="f7883e6b-b8f5-49bd-97ed-29afbba9d34b" providerId="ADAL" clId="{BFF0D389-B892-4D7B-A975-B893E75C7785}" dt="2024-07-17T17:37:45.179" v="23398" actId="47"/>
        <pc:sldMkLst>
          <pc:docMk/>
          <pc:sldMk cId="396498426" sldId="337"/>
        </pc:sldMkLst>
      </pc:sldChg>
      <pc:sldChg chg="modSp add del mod">
        <pc:chgData name="Johanna Marx" userId="f7883e6b-b8f5-49bd-97ed-29afbba9d34b" providerId="ADAL" clId="{BFF0D389-B892-4D7B-A975-B893E75C7785}" dt="2024-07-15T14:17:44.693" v="14120" actId="47"/>
        <pc:sldMkLst>
          <pc:docMk/>
          <pc:sldMk cId="1690808361" sldId="338"/>
        </pc:sldMkLst>
      </pc:sldChg>
      <pc:sldChg chg="modSp add mod ord">
        <pc:chgData name="Johanna Marx" userId="f7883e6b-b8f5-49bd-97ed-29afbba9d34b" providerId="ADAL" clId="{BFF0D389-B892-4D7B-A975-B893E75C7785}" dt="2024-07-17T06:23:50.615" v="18640"/>
        <pc:sldMkLst>
          <pc:docMk/>
          <pc:sldMk cId="1183542163" sldId="339"/>
        </pc:sldMkLst>
      </pc:sldChg>
      <pc:sldChg chg="addSp delSp modSp new del mod">
        <pc:chgData name="Johanna Marx" userId="f7883e6b-b8f5-49bd-97ed-29afbba9d34b" providerId="ADAL" clId="{BFF0D389-B892-4D7B-A975-B893E75C7785}" dt="2024-07-15T14:03:56.927" v="13707" actId="47"/>
        <pc:sldMkLst>
          <pc:docMk/>
          <pc:sldMk cId="2762140397" sldId="339"/>
        </pc:sldMkLst>
      </pc:sldChg>
      <pc:sldChg chg="addSp delSp modSp new mod">
        <pc:chgData name="Johanna Marx" userId="f7883e6b-b8f5-49bd-97ed-29afbba9d34b" providerId="ADAL" clId="{BFF0D389-B892-4D7B-A975-B893E75C7785}" dt="2024-07-15T14:17:23.719" v="14119" actId="114"/>
        <pc:sldMkLst>
          <pc:docMk/>
          <pc:sldMk cId="1871282574" sldId="340"/>
        </pc:sldMkLst>
      </pc:sldChg>
      <pc:sldChg chg="addSp delSp modSp add mod ord addCm delCm">
        <pc:chgData name="Johanna Marx" userId="f7883e6b-b8f5-49bd-97ed-29afbba9d34b" providerId="ADAL" clId="{BFF0D389-B892-4D7B-A975-B893E75C7785}" dt="2024-07-17T17:57:41.674" v="24110"/>
        <pc:sldMkLst>
          <pc:docMk/>
          <pc:sldMk cId="1127244407" sldId="341"/>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17:57:41.674" v="24110"/>
              <pc2:cmMkLst xmlns:pc2="http://schemas.microsoft.com/office/powerpoint/2019/9/main/command">
                <pc:docMk/>
                <pc:sldMk cId="1127244407" sldId="341"/>
                <pc2:cmMk id="{0B446293-67D4-4114-A81B-A1420BB50479}"/>
              </pc2:cmMkLst>
            </pc226:cmChg>
          </p:ext>
        </pc:extLst>
      </pc:sldChg>
      <pc:sldChg chg="addSp delSp modSp new del mod">
        <pc:chgData name="Johanna Marx" userId="f7883e6b-b8f5-49bd-97ed-29afbba9d34b" providerId="ADAL" clId="{BFF0D389-B892-4D7B-A975-B893E75C7785}" dt="2024-07-17T18:07:18.671" v="24202" actId="47"/>
        <pc:sldMkLst>
          <pc:docMk/>
          <pc:sldMk cId="967430045" sldId="342"/>
        </pc:sldMkLst>
      </pc:sldChg>
      <pc:sldChg chg="addSp delSp modSp new mod addCm modCm">
        <pc:chgData name="Johanna Marx" userId="f7883e6b-b8f5-49bd-97ed-29afbba9d34b" providerId="ADAL" clId="{BFF0D389-B892-4D7B-A975-B893E75C7785}" dt="2024-07-17T17:50:11.690" v="24009" actId="1076"/>
        <pc:sldMkLst>
          <pc:docMk/>
          <pc:sldMk cId="2740505906" sldId="343"/>
        </pc:sldMkLst>
        <pc:extLst>
          <p:ext xmlns:p="http://schemas.openxmlformats.org/presentationml/2006/main" uri="{D6D511B9-2390-475A-947B-AFAB55BFBCF1}">
            <pc226:cmChg xmlns:pc226="http://schemas.microsoft.com/office/powerpoint/2022/06/main/command" chg="add mod">
              <pc226:chgData name="Johanna Marx" userId="f7883e6b-b8f5-49bd-97ed-29afbba9d34b" providerId="ADAL" clId="{BFF0D389-B892-4D7B-A975-B893E75C7785}" dt="2024-07-17T11:04:33.358" v="20468"/>
              <pc2:cmMkLst xmlns:pc2="http://schemas.microsoft.com/office/powerpoint/2019/9/main/command">
                <pc:docMk/>
                <pc:sldMk cId="2740505906" sldId="343"/>
                <pc2:cmMk id="{636E821A-01E0-4DBA-8009-480C5FA2C390}"/>
              </pc2:cmMkLst>
            </pc226:cmChg>
          </p:ext>
        </pc:extLst>
      </pc:sldChg>
      <pc:sldChg chg="addSp delSp modSp new mod">
        <pc:chgData name="Johanna Marx" userId="f7883e6b-b8f5-49bd-97ed-29afbba9d34b" providerId="ADAL" clId="{BFF0D389-B892-4D7B-A975-B893E75C7785}" dt="2024-07-17T17:50:05.087" v="24007" actId="1038"/>
        <pc:sldMkLst>
          <pc:docMk/>
          <pc:sldMk cId="4291341608" sldId="344"/>
        </pc:sldMkLst>
      </pc:sldChg>
      <pc:sldChg chg="addSp delSp modSp new mod">
        <pc:chgData name="Johanna Marx" userId="f7883e6b-b8f5-49bd-97ed-29afbba9d34b" providerId="ADAL" clId="{BFF0D389-B892-4D7B-A975-B893E75C7785}" dt="2024-07-17T17:49:56.039" v="23997" actId="14100"/>
        <pc:sldMkLst>
          <pc:docMk/>
          <pc:sldMk cId="2497767716" sldId="345"/>
        </pc:sldMkLst>
      </pc:sldChg>
      <pc:sldChg chg="addSp delSp modSp new mod">
        <pc:chgData name="Johanna Marx" userId="f7883e6b-b8f5-49bd-97ed-29afbba9d34b" providerId="ADAL" clId="{BFF0D389-B892-4D7B-A975-B893E75C7785}" dt="2024-07-15T16:07:19.152" v="15899" actId="14100"/>
        <pc:sldMkLst>
          <pc:docMk/>
          <pc:sldMk cId="386974616" sldId="346"/>
        </pc:sldMkLst>
      </pc:sldChg>
      <pc:sldChg chg="addSp delSp modSp new mod">
        <pc:chgData name="Johanna Marx" userId="f7883e6b-b8f5-49bd-97ed-29afbba9d34b" providerId="ADAL" clId="{BFF0D389-B892-4D7B-A975-B893E75C7785}" dt="2024-07-15T16:26:19.568" v="16694" actId="1076"/>
        <pc:sldMkLst>
          <pc:docMk/>
          <pc:sldMk cId="3719124343" sldId="347"/>
        </pc:sldMkLst>
      </pc:sldChg>
      <pc:sldChg chg="addSp delSp modSp new mod">
        <pc:chgData name="Johanna Marx" userId="f7883e6b-b8f5-49bd-97ed-29afbba9d34b" providerId="ADAL" clId="{BFF0D389-B892-4D7B-A975-B893E75C7785}" dt="2024-07-17T17:50:33.663" v="24012" actId="14100"/>
        <pc:sldMkLst>
          <pc:docMk/>
          <pc:sldMk cId="1464927690" sldId="348"/>
        </pc:sldMkLst>
      </pc:sldChg>
      <pc:sldChg chg="addSp delSp modSp new mod">
        <pc:chgData name="Johanna Marx" userId="f7883e6b-b8f5-49bd-97ed-29afbba9d34b" providerId="ADAL" clId="{BFF0D389-B892-4D7B-A975-B893E75C7785}" dt="2024-07-17T17:51:02.889" v="24020" actId="478"/>
        <pc:sldMkLst>
          <pc:docMk/>
          <pc:sldMk cId="1933968534" sldId="349"/>
        </pc:sldMkLst>
      </pc:sldChg>
      <pc:sldChg chg="addSp delSp modSp new mod">
        <pc:chgData name="Johanna Marx" userId="f7883e6b-b8f5-49bd-97ed-29afbba9d34b" providerId="ADAL" clId="{BFF0D389-B892-4D7B-A975-B893E75C7785}" dt="2024-07-17T17:51:14.342" v="24024" actId="478"/>
        <pc:sldMkLst>
          <pc:docMk/>
          <pc:sldMk cId="284084864" sldId="350"/>
        </pc:sldMkLst>
      </pc:sldChg>
      <pc:sldChg chg="modSp add del mod ord">
        <pc:chgData name="Johanna Marx" userId="f7883e6b-b8f5-49bd-97ed-29afbba9d34b" providerId="ADAL" clId="{BFF0D389-B892-4D7B-A975-B893E75C7785}" dt="2024-07-16T18:19:06.854" v="16840" actId="47"/>
        <pc:sldMkLst>
          <pc:docMk/>
          <pc:sldMk cId="1420518866" sldId="351"/>
        </pc:sldMkLst>
      </pc:sldChg>
      <pc:sldChg chg="addSp delSp modSp add mod ord">
        <pc:chgData name="Johanna Marx" userId="f7883e6b-b8f5-49bd-97ed-29afbba9d34b" providerId="ADAL" clId="{BFF0D389-B892-4D7B-A975-B893E75C7785}" dt="2024-07-17T17:56:11.682" v="24060" actId="1035"/>
        <pc:sldMkLst>
          <pc:docMk/>
          <pc:sldMk cId="2797522874" sldId="351"/>
        </pc:sldMkLst>
      </pc:sldChg>
      <pc:sldChg chg="addSp delSp modSp add mod">
        <pc:chgData name="Johanna Marx" userId="f7883e6b-b8f5-49bd-97ed-29afbba9d34b" providerId="ADAL" clId="{BFF0D389-B892-4D7B-A975-B893E75C7785}" dt="2024-07-17T16:58:30.686" v="22646" actId="478"/>
        <pc:sldMkLst>
          <pc:docMk/>
          <pc:sldMk cId="160204436" sldId="352"/>
        </pc:sldMkLst>
      </pc:sldChg>
      <pc:sldChg chg="delSp add del mod">
        <pc:chgData name="Johanna Marx" userId="f7883e6b-b8f5-49bd-97ed-29afbba9d34b" providerId="ADAL" clId="{BFF0D389-B892-4D7B-A975-B893E75C7785}" dt="2024-07-17T06:28:39.286" v="18877" actId="47"/>
        <pc:sldMkLst>
          <pc:docMk/>
          <pc:sldMk cId="2732465343" sldId="353"/>
        </pc:sldMkLst>
      </pc:sldChg>
      <pc:sldChg chg="addSp delSp modSp mod addCm delCm">
        <pc:chgData name="Johanna Marx" userId="f7883e6b-b8f5-49bd-97ed-29afbba9d34b" providerId="ADAL" clId="{BFF0D389-B892-4D7B-A975-B893E75C7785}" dt="2024-07-17T15:19:28.152" v="20483"/>
        <pc:sldMkLst>
          <pc:docMk/>
          <pc:sldMk cId="3237785027" sldId="354"/>
        </pc:sldMkLst>
        <pc:extLst>
          <p:ext xmlns:p="http://schemas.openxmlformats.org/presentationml/2006/main" uri="{D6D511B9-2390-475A-947B-AFAB55BFBCF1}">
            <pc226:cmChg xmlns:pc226="http://schemas.microsoft.com/office/powerpoint/2022/06/main/command" chg="del">
              <pc226:chgData name="Johanna Marx" userId="f7883e6b-b8f5-49bd-97ed-29afbba9d34b" providerId="ADAL" clId="{BFF0D389-B892-4D7B-A975-B893E75C7785}" dt="2024-07-17T11:03:21.044" v="20385"/>
              <pc2:cmMkLst xmlns:pc2="http://schemas.microsoft.com/office/powerpoint/2019/9/main/command">
                <pc:docMk/>
                <pc:sldMk cId="3237785027" sldId="354"/>
                <pc2:cmMk id="{62777916-AE05-4CC0-A1F3-E61A94AB4C08}"/>
              </pc2:cmMkLst>
            </pc226:cmChg>
            <pc226:cmChg xmlns:pc226="http://schemas.microsoft.com/office/powerpoint/2022/06/main/command" chg="add">
              <pc226:chgData name="Johanna Marx" userId="f7883e6b-b8f5-49bd-97ed-29afbba9d34b" providerId="ADAL" clId="{BFF0D389-B892-4D7B-A975-B893E75C7785}" dt="2024-07-17T15:19:28.152" v="20483"/>
              <pc2:cmMkLst xmlns:pc2="http://schemas.microsoft.com/office/powerpoint/2019/9/main/command">
                <pc:docMk/>
                <pc:sldMk cId="3237785027" sldId="354"/>
                <pc2:cmMk id="{AAC6FDA8-522B-410E-A364-E5B00BFDDF69}"/>
              </pc2:cmMkLst>
            </pc226:cmChg>
          </p:ext>
        </pc:extLst>
      </pc:sldChg>
      <pc:sldChg chg="addSp delSp modSp mod">
        <pc:chgData name="Johanna Marx" userId="f7883e6b-b8f5-49bd-97ed-29afbba9d34b" providerId="ADAL" clId="{BFF0D389-B892-4D7B-A975-B893E75C7785}" dt="2024-07-17T17:49:34.591" v="23959" actId="1076"/>
        <pc:sldMkLst>
          <pc:docMk/>
          <pc:sldMk cId="736897047" sldId="355"/>
        </pc:sldMkLst>
      </pc:sldChg>
      <pc:sldChg chg="addSp delSp modSp mod">
        <pc:chgData name="Johanna Marx" userId="f7883e6b-b8f5-49bd-97ed-29afbba9d34b" providerId="ADAL" clId="{BFF0D389-B892-4D7B-A975-B893E75C7785}" dt="2024-07-17T17:51:27.195" v="24027" actId="478"/>
        <pc:sldMkLst>
          <pc:docMk/>
          <pc:sldMk cId="828749288" sldId="356"/>
        </pc:sldMkLst>
      </pc:sldChg>
      <pc:sldChg chg="addSp delSp modSp mod">
        <pc:chgData name="Johanna Marx" userId="f7883e6b-b8f5-49bd-97ed-29afbba9d34b" providerId="ADAL" clId="{BFF0D389-B892-4D7B-A975-B893E75C7785}" dt="2024-07-17T17:51:33.030" v="24029" actId="478"/>
        <pc:sldMkLst>
          <pc:docMk/>
          <pc:sldMk cId="1051582617" sldId="357"/>
        </pc:sldMkLst>
      </pc:sldChg>
      <pc:sldChg chg="modSp mod">
        <pc:chgData name="Johanna Marx" userId="f7883e6b-b8f5-49bd-97ed-29afbba9d34b" providerId="ADAL" clId="{BFF0D389-B892-4D7B-A975-B893E75C7785}" dt="2024-07-17T17:45:51.308" v="23582" actId="1037"/>
        <pc:sldMkLst>
          <pc:docMk/>
          <pc:sldMk cId="2478495603" sldId="360"/>
        </pc:sldMkLst>
      </pc:sldChg>
      <pc:sldChg chg="addSp delSp modSp mod">
        <pc:chgData name="Johanna Marx" userId="f7883e6b-b8f5-49bd-97ed-29afbba9d34b" providerId="ADAL" clId="{BFF0D389-B892-4D7B-A975-B893E75C7785}" dt="2024-07-17T17:51:44.914" v="24032" actId="478"/>
        <pc:sldMkLst>
          <pc:docMk/>
          <pc:sldMk cId="2305601738" sldId="361"/>
        </pc:sldMkLst>
      </pc:sldChg>
      <pc:sldChg chg="modSp mod">
        <pc:chgData name="Johanna Marx" userId="f7883e6b-b8f5-49bd-97ed-29afbba9d34b" providerId="ADAL" clId="{BFF0D389-B892-4D7B-A975-B893E75C7785}" dt="2024-07-17T17:43:56.917" v="23483" actId="1035"/>
        <pc:sldMkLst>
          <pc:docMk/>
          <pc:sldMk cId="3347662735" sldId="362"/>
        </pc:sldMkLst>
      </pc:sldChg>
      <pc:sldChg chg="modSp mod">
        <pc:chgData name="Johanna Marx" userId="f7883e6b-b8f5-49bd-97ed-29afbba9d34b" providerId="ADAL" clId="{BFF0D389-B892-4D7B-A975-B893E75C7785}" dt="2024-07-17T17:44:39.335" v="23521" actId="14100"/>
        <pc:sldMkLst>
          <pc:docMk/>
          <pc:sldMk cId="1343127239" sldId="363"/>
        </pc:sldMkLst>
      </pc:sldChg>
      <pc:sldChg chg="modSp mod">
        <pc:chgData name="Johanna Marx" userId="f7883e6b-b8f5-49bd-97ed-29afbba9d34b" providerId="ADAL" clId="{BFF0D389-B892-4D7B-A975-B893E75C7785}" dt="2024-07-17T17:45:06.274" v="23533" actId="1038"/>
        <pc:sldMkLst>
          <pc:docMk/>
          <pc:sldMk cId="4283035542" sldId="364"/>
        </pc:sldMkLst>
      </pc:sldChg>
      <pc:sldChg chg="modSp mod">
        <pc:chgData name="Johanna Marx" userId="f7883e6b-b8f5-49bd-97ed-29afbba9d34b" providerId="ADAL" clId="{BFF0D389-B892-4D7B-A975-B893E75C7785}" dt="2024-07-17T17:44:55.031" v="23528" actId="1038"/>
        <pc:sldMkLst>
          <pc:docMk/>
          <pc:sldMk cId="3128357680" sldId="365"/>
        </pc:sldMkLst>
      </pc:sldChg>
      <pc:sldChg chg="addSp delSp modSp new mod">
        <pc:chgData name="Johanna Marx" userId="f7883e6b-b8f5-49bd-97ed-29afbba9d34b" providerId="ADAL" clId="{BFF0D389-B892-4D7B-A975-B893E75C7785}" dt="2024-07-17T06:29:05.690" v="18880" actId="20577"/>
        <pc:sldMkLst>
          <pc:docMk/>
          <pc:sldMk cId="1347835055" sldId="366"/>
        </pc:sldMkLst>
      </pc:sldChg>
      <pc:sldChg chg="addSp delSp modSp new mod">
        <pc:chgData name="Johanna Marx" userId="f7883e6b-b8f5-49bd-97ed-29afbba9d34b" providerId="ADAL" clId="{BFF0D389-B892-4D7B-A975-B893E75C7785}" dt="2024-07-17T15:21:04.302" v="20487" actId="20577"/>
        <pc:sldMkLst>
          <pc:docMk/>
          <pc:sldMk cId="1662382075" sldId="367"/>
        </pc:sldMkLst>
      </pc:sldChg>
      <pc:sldChg chg="addSp delSp modSp new mod">
        <pc:chgData name="Johanna Marx" userId="f7883e6b-b8f5-49bd-97ed-29afbba9d34b" providerId="ADAL" clId="{BFF0D389-B892-4D7B-A975-B893E75C7785}" dt="2024-07-17T17:18:31.040" v="22996" actId="12"/>
        <pc:sldMkLst>
          <pc:docMk/>
          <pc:sldMk cId="4061445094" sldId="370"/>
        </pc:sldMkLst>
      </pc:sldChg>
      <pc:sldChg chg="addSp delSp modSp new del mod">
        <pc:chgData name="Johanna Marx" userId="f7883e6b-b8f5-49bd-97ed-29afbba9d34b" providerId="ADAL" clId="{BFF0D389-B892-4D7B-A975-B893E75C7785}" dt="2024-07-17T16:15:13.480" v="21431" actId="47"/>
        <pc:sldMkLst>
          <pc:docMk/>
          <pc:sldMk cId="116288828" sldId="371"/>
        </pc:sldMkLst>
      </pc:sldChg>
      <pc:sldChg chg="addSp delSp modSp new del mod">
        <pc:chgData name="Johanna Marx" userId="f7883e6b-b8f5-49bd-97ed-29afbba9d34b" providerId="ADAL" clId="{BFF0D389-B892-4D7B-A975-B893E75C7785}" dt="2024-07-17T16:33:31.502" v="21964" actId="47"/>
        <pc:sldMkLst>
          <pc:docMk/>
          <pc:sldMk cId="2183341266" sldId="373"/>
        </pc:sldMkLst>
      </pc:sldChg>
      <pc:sldChg chg="modSp mod">
        <pc:chgData name="Johanna Marx" userId="f7883e6b-b8f5-49bd-97ed-29afbba9d34b" providerId="ADAL" clId="{BFF0D389-B892-4D7B-A975-B893E75C7785}" dt="2024-07-17T17:17:19.542" v="22987" actId="20577"/>
        <pc:sldMkLst>
          <pc:docMk/>
          <pc:sldMk cId="1237709550" sldId="374"/>
        </pc:sldMkLst>
      </pc:sldChg>
      <pc:sldChg chg="addSp delSp modSp new mod">
        <pc:chgData name="Johanna Marx" userId="f7883e6b-b8f5-49bd-97ed-29afbba9d34b" providerId="ADAL" clId="{BFF0D389-B892-4D7B-A975-B893E75C7785}" dt="2024-07-17T16:20:23.209" v="21484" actId="1076"/>
        <pc:sldMkLst>
          <pc:docMk/>
          <pc:sldMk cId="2849113408" sldId="375"/>
        </pc:sldMkLst>
      </pc:sldChg>
      <pc:sldChg chg="addSp delSp modSp new del mod">
        <pc:chgData name="Johanna Marx" userId="f7883e6b-b8f5-49bd-97ed-29afbba9d34b" providerId="ADAL" clId="{BFF0D389-B892-4D7B-A975-B893E75C7785}" dt="2024-07-17T16:38:13.517" v="22225" actId="47"/>
        <pc:sldMkLst>
          <pc:docMk/>
          <pc:sldMk cId="3610076461" sldId="376"/>
        </pc:sldMkLst>
      </pc:sldChg>
      <pc:sldChg chg="addSp delSp modSp new del mod">
        <pc:chgData name="Johanna Marx" userId="f7883e6b-b8f5-49bd-97ed-29afbba9d34b" providerId="ADAL" clId="{BFF0D389-B892-4D7B-A975-B893E75C7785}" dt="2024-07-17T16:30:53.349" v="21783" actId="47"/>
        <pc:sldMkLst>
          <pc:docMk/>
          <pc:sldMk cId="868513994" sldId="377"/>
        </pc:sldMkLst>
      </pc:sldChg>
      <pc:sldChg chg="addSp delSp modSp new mod">
        <pc:chgData name="Johanna Marx" userId="f7883e6b-b8f5-49bd-97ed-29afbba9d34b" providerId="ADAL" clId="{BFF0D389-B892-4D7B-A975-B893E75C7785}" dt="2024-07-17T16:34:11.702" v="21968" actId="1076"/>
        <pc:sldMkLst>
          <pc:docMk/>
          <pc:sldMk cId="1767982433" sldId="377"/>
        </pc:sldMkLst>
      </pc:sldChg>
      <pc:sldChg chg="addSp delSp modSp new del mod">
        <pc:chgData name="Johanna Marx" userId="f7883e6b-b8f5-49bd-97ed-29afbba9d34b" providerId="ADAL" clId="{BFF0D389-B892-4D7B-A975-B893E75C7785}" dt="2024-07-17T18:19:55.919" v="24416" actId="47"/>
        <pc:sldMkLst>
          <pc:docMk/>
          <pc:sldMk cId="3923832735" sldId="378"/>
        </pc:sldMkLst>
      </pc:sldChg>
      <pc:sldChg chg="addSp delSp modSp new mod">
        <pc:chgData name="Johanna Marx" userId="f7883e6b-b8f5-49bd-97ed-29afbba9d34b" providerId="ADAL" clId="{BFF0D389-B892-4D7B-A975-B893E75C7785}" dt="2024-07-17T17:37:27.673" v="23397" actId="20577"/>
        <pc:sldMkLst>
          <pc:docMk/>
          <pc:sldMk cId="3645510430" sldId="379"/>
        </pc:sldMkLst>
      </pc:sldChg>
      <pc:sldChg chg="addSp delSp modSp mod">
        <pc:chgData name="Johanna Marx" userId="f7883e6b-b8f5-49bd-97ed-29afbba9d34b" providerId="ADAL" clId="{BFF0D389-B892-4D7B-A975-B893E75C7785}" dt="2024-07-17T18:19:49.416" v="24415" actId="1036"/>
        <pc:sldMkLst>
          <pc:docMk/>
          <pc:sldMk cId="2577462896" sldId="380"/>
        </pc:sldMkLst>
      </pc:sldChg>
      <pc:sldChg chg="add">
        <pc:chgData name="Johanna Marx" userId="f7883e6b-b8f5-49bd-97ed-29afbba9d34b" providerId="ADAL" clId="{BFF0D389-B892-4D7B-A975-B893E75C7785}" dt="2024-07-17T17:35:28.119" v="23391" actId="2890"/>
        <pc:sldMkLst>
          <pc:docMk/>
          <pc:sldMk cId="3986482285" sldId="380"/>
        </pc:sldMkLst>
      </pc:sldChg>
      <pc:sldChg chg="add mod ord modShow">
        <pc:chgData name="Johanna Marx" userId="f7883e6b-b8f5-49bd-97ed-29afbba9d34b" providerId="ADAL" clId="{BFF0D389-B892-4D7B-A975-B893E75C7785}" dt="2024-07-17T17:42:40.702" v="23402" actId="729"/>
        <pc:sldMkLst>
          <pc:docMk/>
          <pc:sldMk cId="3616379370" sldId="381"/>
        </pc:sldMkLst>
      </pc:sldChg>
      <pc:sldChg chg="del">
        <pc:chgData name="Johanna Marx" userId="f7883e6b-b8f5-49bd-97ed-29afbba9d34b" providerId="ADAL" clId="{BFF0D389-B892-4D7B-A975-B893E75C7785}" dt="2024-07-17T17:35:36.123" v="23392" actId="47"/>
        <pc:sldMkLst>
          <pc:docMk/>
          <pc:sldMk cId="3986482285" sldId="381"/>
        </pc:sldMkLst>
      </pc:sldChg>
      <pc:sldChg chg="modSp mod">
        <pc:chgData name="Johanna Marx" userId="f7883e6b-b8f5-49bd-97ed-29afbba9d34b" providerId="ADAL" clId="{BFF0D389-B892-4D7B-A975-B893E75C7785}" dt="2024-07-17T18:18:15.488" v="24367" actId="1076"/>
        <pc:sldMkLst>
          <pc:docMk/>
          <pc:sldMk cId="1028456503" sldId="382"/>
        </pc:sldMkLst>
      </pc:sldChg>
      <pc:sldChg chg="addSp delSp modSp add mod ord">
        <pc:chgData name="Johanna Marx" userId="f7883e6b-b8f5-49bd-97ed-29afbba9d34b" providerId="ADAL" clId="{BFF0D389-B892-4D7B-A975-B893E75C7785}" dt="2024-07-17T18:08:00.676" v="24205" actId="167"/>
        <pc:sldMkLst>
          <pc:docMk/>
          <pc:sldMk cId="2307933946" sldId="383"/>
        </pc:sldMkLst>
      </pc:sldChg>
      <pc:sldMasterChg chg="modSp delSldLayout modSldLayout">
        <pc:chgData name="Johanna Marx" userId="f7883e6b-b8f5-49bd-97ed-29afbba9d34b" providerId="ADAL" clId="{BFF0D389-B892-4D7B-A975-B893E75C7785}" dt="2024-07-11T10:32:10.611" v="13421" actId="47"/>
        <pc:sldMasterMkLst>
          <pc:docMk/>
          <pc:sldMasterMk cId="0" sldId="2147483669"/>
        </pc:sldMasterMkLst>
        <pc:sldLayoutChg chg="addSp delSp modSp del mod">
          <pc:chgData name="Johanna Marx" userId="f7883e6b-b8f5-49bd-97ed-29afbba9d34b" providerId="ADAL" clId="{BFF0D389-B892-4D7B-A975-B893E75C7785}" dt="2024-07-11T10:06:17.022" v="13220" actId="47"/>
          <pc:sldLayoutMkLst>
            <pc:docMk/>
            <pc:sldMasterMk cId="0" sldId="2147483669"/>
            <pc:sldLayoutMk cId="0" sldId="2147483649"/>
          </pc:sldLayoutMkLst>
        </pc:sldLayoutChg>
        <pc:sldLayoutChg chg="delSp modSp del mod">
          <pc:chgData name="Johanna Marx" userId="f7883e6b-b8f5-49bd-97ed-29afbba9d34b" providerId="ADAL" clId="{BFF0D389-B892-4D7B-A975-B893E75C7785}" dt="2024-07-07T12:19:11.936" v="312" actId="47"/>
          <pc:sldLayoutMkLst>
            <pc:docMk/>
            <pc:sldMasterMk cId="0" sldId="2147483669"/>
            <pc:sldLayoutMk cId="0" sldId="2147483650"/>
          </pc:sldLayoutMkLst>
        </pc:sldLayoutChg>
        <pc:sldLayoutChg chg="addSp delSp modSp del mod">
          <pc:chgData name="Johanna Marx" userId="f7883e6b-b8f5-49bd-97ed-29afbba9d34b" providerId="ADAL" clId="{BFF0D389-B892-4D7B-A975-B893E75C7785}" dt="2024-07-07T12:48:17.570" v="1111" actId="47"/>
          <pc:sldLayoutMkLst>
            <pc:docMk/>
            <pc:sldMasterMk cId="0" sldId="2147483669"/>
            <pc:sldLayoutMk cId="0" sldId="2147483655"/>
          </pc:sldLayoutMkLst>
        </pc:sldLayoutChg>
        <pc:sldLayoutChg chg="addSp delSp modSp del mod">
          <pc:chgData name="Johanna Marx" userId="f7883e6b-b8f5-49bd-97ed-29afbba9d34b" providerId="ADAL" clId="{BFF0D389-B892-4D7B-A975-B893E75C7785}" dt="2024-07-11T10:32:10.611" v="13421" actId="47"/>
          <pc:sldLayoutMkLst>
            <pc:docMk/>
            <pc:sldMasterMk cId="0" sldId="2147483669"/>
            <pc:sldLayoutMk cId="0" sldId="2147483657"/>
          </pc:sldLayoutMkLst>
        </pc:sldLayoutChg>
        <pc:sldLayoutChg chg="del">
          <pc:chgData name="Johanna Marx" userId="f7883e6b-b8f5-49bd-97ed-29afbba9d34b" providerId="ADAL" clId="{BFF0D389-B892-4D7B-A975-B893E75C7785}" dt="2024-07-07T12:20:01.509" v="313" actId="47"/>
          <pc:sldLayoutMkLst>
            <pc:docMk/>
            <pc:sldMasterMk cId="0" sldId="2147483669"/>
            <pc:sldLayoutMk cId="0" sldId="2147483658"/>
          </pc:sldLayoutMkLst>
        </pc:sldLayoutChg>
        <pc:sldLayoutChg chg="addSp modSp del mod">
          <pc:chgData name="Johanna Marx" userId="f7883e6b-b8f5-49bd-97ed-29afbba9d34b" providerId="ADAL" clId="{BFF0D389-B892-4D7B-A975-B893E75C7785}" dt="2024-07-07T12:48:30.733" v="1112" actId="47"/>
          <pc:sldLayoutMkLst>
            <pc:docMk/>
            <pc:sldMasterMk cId="0" sldId="2147483669"/>
            <pc:sldLayoutMk cId="0" sldId="2147483659"/>
          </pc:sldLayoutMkLst>
        </pc:sldLayoutChg>
        <pc:sldLayoutChg chg="addSp modSp del mod">
          <pc:chgData name="Johanna Marx" userId="f7883e6b-b8f5-49bd-97ed-29afbba9d34b" providerId="ADAL" clId="{BFF0D389-B892-4D7B-A975-B893E75C7785}" dt="2024-07-11T10:32:01.240" v="13417" actId="47"/>
          <pc:sldLayoutMkLst>
            <pc:docMk/>
            <pc:sldMasterMk cId="0" sldId="2147483669"/>
            <pc:sldLayoutMk cId="0" sldId="2147483664"/>
          </pc:sldLayoutMkLst>
        </pc:sldLayoutChg>
        <pc:sldLayoutChg chg="addSp delSp modSp mod">
          <pc:chgData name="Johanna Marx" userId="f7883e6b-b8f5-49bd-97ed-29afbba9d34b" providerId="ADAL" clId="{BFF0D389-B892-4D7B-A975-B893E75C7785}" dt="2024-07-11T10:02:15.290" v="13163" actId="735"/>
          <pc:sldLayoutMkLst>
            <pc:docMk/>
            <pc:sldMasterMk cId="0" sldId="2147483669"/>
            <pc:sldLayoutMk cId="0" sldId="2147483670"/>
          </pc:sldLayoutMkLst>
        </pc:sldLayoutChg>
        <pc:sldLayoutChg chg="addSp modSp mod">
          <pc:chgData name="Johanna Marx" userId="f7883e6b-b8f5-49bd-97ed-29afbba9d34b" providerId="ADAL" clId="{BFF0D389-B892-4D7B-A975-B893E75C7785}" dt="2024-07-07T12:45:55.136" v="978"/>
          <pc:sldLayoutMkLst>
            <pc:docMk/>
            <pc:sldMasterMk cId="0" sldId="2147483669"/>
            <pc:sldLayoutMk cId="0" sldId="2147483671"/>
          </pc:sldLayoutMkLst>
        </pc:sldLayoutChg>
        <pc:sldLayoutChg chg="addSp delSp modSp mod">
          <pc:chgData name="Johanna Marx" userId="f7883e6b-b8f5-49bd-97ed-29afbba9d34b" providerId="ADAL" clId="{BFF0D389-B892-4D7B-A975-B893E75C7785}" dt="2024-07-07T12:45:56.938" v="979"/>
          <pc:sldLayoutMkLst>
            <pc:docMk/>
            <pc:sldMasterMk cId="0" sldId="2147483669"/>
            <pc:sldLayoutMk cId="0" sldId="2147483672"/>
          </pc:sldLayoutMkLst>
        </pc:sldLayoutChg>
        <pc:sldLayoutChg chg="addSp delSp modSp mod">
          <pc:chgData name="Johanna Marx" userId="f7883e6b-b8f5-49bd-97ed-29afbba9d34b" providerId="ADAL" clId="{BFF0D389-B892-4D7B-A975-B893E75C7785}" dt="2024-07-07T12:45:59.600" v="980"/>
          <pc:sldLayoutMkLst>
            <pc:docMk/>
            <pc:sldMasterMk cId="0" sldId="2147483669"/>
            <pc:sldLayoutMk cId="0" sldId="2147483673"/>
          </pc:sldLayoutMkLst>
        </pc:sldLayoutChg>
        <pc:sldLayoutChg chg="addSp delSp modSp mod">
          <pc:chgData name="Johanna Marx" userId="f7883e6b-b8f5-49bd-97ed-29afbba9d34b" providerId="ADAL" clId="{BFF0D389-B892-4D7B-A975-B893E75C7785}" dt="2024-07-07T12:46:43.974" v="1025" actId="1035"/>
          <pc:sldLayoutMkLst>
            <pc:docMk/>
            <pc:sldMasterMk cId="0" sldId="2147483669"/>
            <pc:sldLayoutMk cId="0" sldId="2147483674"/>
          </pc:sldLayoutMkLst>
        </pc:sldLayoutChg>
        <pc:sldLayoutChg chg="addSp modSp">
          <pc:chgData name="Johanna Marx" userId="f7883e6b-b8f5-49bd-97ed-29afbba9d34b" providerId="ADAL" clId="{BFF0D389-B892-4D7B-A975-B893E75C7785}" dt="2024-07-11T09:54:46.335" v="13099" actId="735"/>
          <pc:sldLayoutMkLst>
            <pc:docMk/>
            <pc:sldMasterMk cId="0" sldId="2147483669"/>
            <pc:sldLayoutMk cId="0" sldId="2147483675"/>
          </pc:sldLayoutMkLst>
        </pc:sldLayoutChg>
        <pc:sldLayoutChg chg="addSp modSp mod">
          <pc:chgData name="Johanna Marx" userId="f7883e6b-b8f5-49bd-97ed-29afbba9d34b" providerId="ADAL" clId="{BFF0D389-B892-4D7B-A975-B893E75C7785}" dt="2024-07-07T12:46:13.222" v="986"/>
          <pc:sldLayoutMkLst>
            <pc:docMk/>
            <pc:sldMasterMk cId="0" sldId="2147483669"/>
            <pc:sldLayoutMk cId="0" sldId="2147483676"/>
          </pc:sldLayoutMkLst>
        </pc:sldLayoutChg>
        <pc:sldLayoutChg chg="addSp delSp modSp mod">
          <pc:chgData name="Johanna Marx" userId="f7883e6b-b8f5-49bd-97ed-29afbba9d34b" providerId="ADAL" clId="{BFF0D389-B892-4D7B-A975-B893E75C7785}" dt="2024-07-07T12:47:39.584" v="1108" actId="1035"/>
          <pc:sldLayoutMkLst>
            <pc:docMk/>
            <pc:sldMasterMk cId="0" sldId="2147483669"/>
            <pc:sldLayoutMk cId="0" sldId="2147483677"/>
          </pc:sldLayoutMkLst>
        </pc:sldLayoutChg>
        <pc:sldLayoutChg chg="addSp modSp mod">
          <pc:chgData name="Johanna Marx" userId="f7883e6b-b8f5-49bd-97ed-29afbba9d34b" providerId="ADAL" clId="{BFF0D389-B892-4D7B-A975-B893E75C7785}" dt="2024-07-07T13:13:07.048" v="1824" actId="1036"/>
          <pc:sldLayoutMkLst>
            <pc:docMk/>
            <pc:sldMasterMk cId="0" sldId="2147483669"/>
            <pc:sldLayoutMk cId="0" sldId="2147483678"/>
          </pc:sldLayoutMkLst>
        </pc:sldLayoutChg>
        <pc:sldLayoutChg chg="addSp delSp modSp mod">
          <pc:chgData name="Johanna Marx" userId="f7883e6b-b8f5-49bd-97ed-29afbba9d34b" providerId="ADAL" clId="{BFF0D389-B892-4D7B-A975-B893E75C7785}" dt="2024-07-11T09:59:58.397" v="13148" actId="735"/>
          <pc:sldLayoutMkLst>
            <pc:docMk/>
            <pc:sldMasterMk cId="0" sldId="2147483669"/>
            <pc:sldLayoutMk cId="0" sldId="2147483679"/>
          </pc:sldLayoutMkLst>
        </pc:sldLayoutChg>
        <pc:sldLayoutChg chg="addSp delSp modSp mod">
          <pc:chgData name="Johanna Marx" userId="f7883e6b-b8f5-49bd-97ed-29afbba9d34b" providerId="ADAL" clId="{BFF0D389-B892-4D7B-A975-B893E75C7785}" dt="2024-07-07T12:46:22.825" v="991"/>
          <pc:sldLayoutMkLst>
            <pc:docMk/>
            <pc:sldMasterMk cId="0" sldId="2147483669"/>
            <pc:sldLayoutMk cId="0" sldId="2147483680"/>
          </pc:sldLayoutMkLst>
        </pc:sldLayoutChg>
        <pc:sldLayoutChg chg="addSp delSp modSp mod">
          <pc:chgData name="Johanna Marx" userId="f7883e6b-b8f5-49bd-97ed-29afbba9d34b" providerId="ADAL" clId="{BFF0D389-B892-4D7B-A975-B893E75C7785}" dt="2024-07-07T12:46:24.249" v="992"/>
          <pc:sldLayoutMkLst>
            <pc:docMk/>
            <pc:sldMasterMk cId="0" sldId="2147483669"/>
            <pc:sldLayoutMk cId="0" sldId="2147483681"/>
          </pc:sldLayoutMkLst>
        </pc:sldLayoutChg>
      </pc:sldMasterChg>
    </pc:docChg>
  </pc:docChgLst>
  <pc:docChgLst>
    <pc:chgData name="Luis Caro Delgado" userId="81c57fa2-c317-4e9d-b555-115c79435d2f" providerId="ADAL" clId="{66302D23-59A3-4D4E-9CC2-429C8835CF29}"/>
    <pc:docChg chg="undo redo custSel addSld delSld modSld addSection delSection modSection">
      <pc:chgData name="Luis Caro Delgado" userId="81c57fa2-c317-4e9d-b555-115c79435d2f" providerId="ADAL" clId="{66302D23-59A3-4D4E-9CC2-429C8835CF29}" dt="2025-01-20T23:04:43.919" v="5378" actId="20577"/>
      <pc:docMkLst>
        <pc:docMk/>
      </pc:docMkLst>
      <pc:sldChg chg="add del">
        <pc:chgData name="Luis Caro Delgado" userId="81c57fa2-c317-4e9d-b555-115c79435d2f" providerId="ADAL" clId="{66302D23-59A3-4D4E-9CC2-429C8835CF29}" dt="2024-11-23T17:13:38.739" v="436"/>
        <pc:sldMkLst>
          <pc:docMk/>
          <pc:sldMk cId="3573279774" sldId="286"/>
        </pc:sldMkLst>
      </pc:sldChg>
      <pc:sldChg chg="addSp delSp modSp add del mod">
        <pc:chgData name="Luis Caro Delgado" userId="81c57fa2-c317-4e9d-b555-115c79435d2f" providerId="ADAL" clId="{66302D23-59A3-4D4E-9CC2-429C8835CF29}" dt="2024-11-23T17:46:19.098" v="1110" actId="108"/>
        <pc:sldMkLst>
          <pc:docMk/>
          <pc:sldMk cId="3420601596" sldId="315"/>
        </pc:sldMkLst>
      </pc:sldChg>
      <pc:sldChg chg="modSp add mod">
        <pc:chgData name="Luis Caro Delgado" userId="81c57fa2-c317-4e9d-b555-115c79435d2f" providerId="ADAL" clId="{66302D23-59A3-4D4E-9CC2-429C8835CF29}" dt="2024-11-23T17:33:40.731" v="639" actId="14100"/>
        <pc:sldMkLst>
          <pc:docMk/>
          <pc:sldMk cId="2079672465" sldId="387"/>
        </pc:sldMkLst>
      </pc:sldChg>
      <pc:sldChg chg="addSp delSp modSp add mod">
        <pc:chgData name="Luis Caro Delgado" userId="81c57fa2-c317-4e9d-b555-115c79435d2f" providerId="ADAL" clId="{66302D23-59A3-4D4E-9CC2-429C8835CF29}" dt="2024-11-23T18:54:56.605" v="1187" actId="22"/>
        <pc:sldMkLst>
          <pc:docMk/>
          <pc:sldMk cId="3497998176" sldId="388"/>
        </pc:sldMkLst>
      </pc:sldChg>
      <pc:sldChg chg="modSp add mod">
        <pc:chgData name="Luis Caro Delgado" userId="81c57fa2-c317-4e9d-b555-115c79435d2f" providerId="ADAL" clId="{66302D23-59A3-4D4E-9CC2-429C8835CF29}" dt="2024-11-23T18:55:26.428" v="1209" actId="20577"/>
        <pc:sldMkLst>
          <pc:docMk/>
          <pc:sldMk cId="3644613430" sldId="389"/>
        </pc:sldMkLst>
      </pc:sldChg>
      <pc:sldChg chg="add">
        <pc:chgData name="Luis Caro Delgado" userId="81c57fa2-c317-4e9d-b555-115c79435d2f" providerId="ADAL" clId="{66302D23-59A3-4D4E-9CC2-429C8835CF29}" dt="2024-11-23T18:55:01.848" v="1188"/>
        <pc:sldMkLst>
          <pc:docMk/>
          <pc:sldMk cId="2309001249" sldId="390"/>
        </pc:sldMkLst>
      </pc:sldChg>
      <pc:sldChg chg="modSp mod">
        <pc:chgData name="Luis Caro Delgado" userId="81c57fa2-c317-4e9d-b555-115c79435d2f" providerId="ADAL" clId="{66302D23-59A3-4D4E-9CC2-429C8835CF29}" dt="2024-12-09T21:35:38.749" v="1235" actId="20577"/>
        <pc:sldMkLst>
          <pc:docMk/>
          <pc:sldMk cId="2383461224" sldId="411"/>
        </pc:sldMkLst>
      </pc:sldChg>
      <pc:sldChg chg="modSp add mod">
        <pc:chgData name="Luis Caro Delgado" userId="81c57fa2-c317-4e9d-b555-115c79435d2f" providerId="ADAL" clId="{66302D23-59A3-4D4E-9CC2-429C8835CF29}" dt="2025-01-20T22:29:27.907" v="5357" actId="12"/>
        <pc:sldMkLst>
          <pc:docMk/>
          <pc:sldMk cId="1498560102" sldId="437"/>
        </pc:sldMkLst>
      </pc:sldChg>
      <pc:sldChg chg="addSp delSp modSp add mod">
        <pc:chgData name="Luis Caro Delgado" userId="81c57fa2-c317-4e9d-b555-115c79435d2f" providerId="ADAL" clId="{66302D23-59A3-4D4E-9CC2-429C8835CF29}" dt="2025-01-20T23:04:43.919" v="5378" actId="20577"/>
        <pc:sldMkLst>
          <pc:docMk/>
          <pc:sldMk cId="958515270" sldId="438"/>
        </pc:sldMkLst>
      </pc:sldChg>
      <pc:sldChg chg="addSp delSp modSp add mod">
        <pc:chgData name="Luis Caro Delgado" userId="81c57fa2-c317-4e9d-b555-115c79435d2f" providerId="ADAL" clId="{66302D23-59A3-4D4E-9CC2-429C8835CF29}" dt="2025-01-20T22:32:37.310" v="5361" actId="207"/>
        <pc:sldMkLst>
          <pc:docMk/>
          <pc:sldMk cId="1657911828" sldId="439"/>
        </pc:sldMkLst>
      </pc:sldChg>
      <pc:sldChg chg="addSp modSp add mod">
        <pc:chgData name="Luis Caro Delgado" userId="81c57fa2-c317-4e9d-b555-115c79435d2f" providerId="ADAL" clId="{66302D23-59A3-4D4E-9CC2-429C8835CF29}" dt="2025-01-20T22:33:16.227" v="5366" actId="11"/>
        <pc:sldMkLst>
          <pc:docMk/>
          <pc:sldMk cId="2314472185" sldId="459"/>
        </pc:sldMkLst>
      </pc:sldChg>
      <pc:sldChg chg="add del">
        <pc:chgData name="Luis Caro Delgado" userId="81c57fa2-c317-4e9d-b555-115c79435d2f" providerId="ADAL" clId="{66302D23-59A3-4D4E-9CC2-429C8835CF29}" dt="2024-12-31T16:49:56.875" v="2293" actId="47"/>
        <pc:sldMkLst>
          <pc:docMk/>
          <pc:sldMk cId="661868742" sldId="460"/>
        </pc:sldMkLst>
      </pc:sldChg>
      <pc:sldChg chg="addSp delSp modSp add mod">
        <pc:chgData name="Luis Caro Delgado" userId="81c57fa2-c317-4e9d-b555-115c79435d2f" providerId="ADAL" clId="{66302D23-59A3-4D4E-9CC2-429C8835CF29}" dt="2025-01-20T22:33:29.021" v="5367" actId="11"/>
        <pc:sldMkLst>
          <pc:docMk/>
          <pc:sldMk cId="3928735736" sldId="461"/>
        </pc:sldMkLst>
      </pc:sldChg>
      <pc:sldChg chg="addSp delSp modSp add del mod">
        <pc:chgData name="Luis Caro Delgado" userId="81c57fa2-c317-4e9d-b555-115c79435d2f" providerId="ADAL" clId="{66302D23-59A3-4D4E-9CC2-429C8835CF29}" dt="2025-01-06T23:26:59.731" v="2447" actId="47"/>
        <pc:sldMkLst>
          <pc:docMk/>
          <pc:sldMk cId="3908234129" sldId="467"/>
        </pc:sldMkLst>
      </pc:sldChg>
      <pc:sldChg chg="addSp delSp modSp add mod">
        <pc:chgData name="Luis Caro Delgado" userId="81c57fa2-c317-4e9d-b555-115c79435d2f" providerId="ADAL" clId="{66302D23-59A3-4D4E-9CC2-429C8835CF29}" dt="2025-01-20T22:32:46.402" v="5362" actId="207"/>
        <pc:sldMkLst>
          <pc:docMk/>
          <pc:sldMk cId="2138083522" sldId="468"/>
        </pc:sldMkLst>
      </pc:sldChg>
      <pc:sldChg chg="add mod modShow">
        <pc:chgData name="Luis Caro Delgado" userId="81c57fa2-c317-4e9d-b555-115c79435d2f" providerId="ADAL" clId="{66302D23-59A3-4D4E-9CC2-429C8835CF29}" dt="2025-01-06T23:31:30.643" v="2449" actId="729"/>
        <pc:sldMkLst>
          <pc:docMk/>
          <pc:sldMk cId="3572124311" sldId="469"/>
        </pc:sldMkLst>
      </pc:sldChg>
      <pc:sldChg chg="modSp add del mod">
        <pc:chgData name="Luis Caro Delgado" userId="81c57fa2-c317-4e9d-b555-115c79435d2f" providerId="ADAL" clId="{66302D23-59A3-4D4E-9CC2-429C8835CF29}" dt="2025-01-07T15:34:16.760" v="3418"/>
        <pc:sldMkLst>
          <pc:docMk/>
          <pc:sldMk cId="1782808397" sldId="470"/>
        </pc:sldMkLst>
      </pc:sldChg>
      <pc:sldChg chg="addSp modSp add mod">
        <pc:chgData name="Luis Caro Delgado" userId="81c57fa2-c317-4e9d-b555-115c79435d2f" providerId="ADAL" clId="{66302D23-59A3-4D4E-9CC2-429C8835CF29}" dt="2025-01-20T22:33:56.669" v="5369" actId="11"/>
        <pc:sldMkLst>
          <pc:docMk/>
          <pc:sldMk cId="1813835250" sldId="470"/>
        </pc:sldMkLst>
      </pc:sldChg>
      <pc:sldChg chg="add del">
        <pc:chgData name="Luis Caro Delgado" userId="81c57fa2-c317-4e9d-b555-115c79435d2f" providerId="ADAL" clId="{66302D23-59A3-4D4E-9CC2-429C8835CF29}" dt="2025-01-07T15:54:59.547" v="3684"/>
        <pc:sldMkLst>
          <pc:docMk/>
          <pc:sldMk cId="3578529939" sldId="471"/>
        </pc:sldMkLst>
      </pc:sldChg>
      <pc:sldChg chg="addSp delSp modSp add mod">
        <pc:chgData name="Luis Caro Delgado" userId="81c57fa2-c317-4e9d-b555-115c79435d2f" providerId="ADAL" clId="{66302D23-59A3-4D4E-9CC2-429C8835CF29}" dt="2025-01-20T22:34:20.521" v="5371" actId="11"/>
        <pc:sldMkLst>
          <pc:docMk/>
          <pc:sldMk cId="3927665919" sldId="471"/>
        </pc:sldMkLst>
      </pc:sldChg>
      <pc:sldChg chg="modSp mod">
        <pc:chgData name="Luis Caro Delgado" userId="81c57fa2-c317-4e9d-b555-115c79435d2f" providerId="ADAL" clId="{66302D23-59A3-4D4E-9CC2-429C8835CF29}" dt="2025-01-17T11:42:13.762" v="5152"/>
        <pc:sldMkLst>
          <pc:docMk/>
          <pc:sldMk cId="1150075437" sldId="474"/>
        </pc:sldMkLst>
      </pc:sldChg>
      <pc:sldChg chg="modSp add del mod">
        <pc:chgData name="Luis Caro Delgado" userId="81c57fa2-c317-4e9d-b555-115c79435d2f" providerId="ADAL" clId="{66302D23-59A3-4D4E-9CC2-429C8835CF29}" dt="2025-01-11T21:44:37.353" v="4089" actId="47"/>
        <pc:sldMkLst>
          <pc:docMk/>
          <pc:sldMk cId="1747832303" sldId="480"/>
        </pc:sldMkLst>
      </pc:sldChg>
      <pc:sldChg chg="modSp add mod">
        <pc:chgData name="Luis Caro Delgado" userId="81c57fa2-c317-4e9d-b555-115c79435d2f" providerId="ADAL" clId="{66302D23-59A3-4D4E-9CC2-429C8835CF29}" dt="2025-01-11T21:49:49.496" v="4215" actId="20577"/>
        <pc:sldMkLst>
          <pc:docMk/>
          <pc:sldMk cId="1930544580" sldId="481"/>
        </pc:sldMkLst>
      </pc:sldChg>
      <pc:sldChg chg="addSp delSp modSp add mod">
        <pc:chgData name="Luis Caro Delgado" userId="81c57fa2-c317-4e9d-b555-115c79435d2f" providerId="ADAL" clId="{66302D23-59A3-4D4E-9CC2-429C8835CF29}" dt="2025-01-16T19:11:46.450" v="4437" actId="1076"/>
        <pc:sldMkLst>
          <pc:docMk/>
          <pc:sldMk cId="1638968597" sldId="484"/>
        </pc:sldMkLst>
      </pc:sldChg>
      <pc:sldChg chg="modSp add del mod">
        <pc:chgData name="Luis Caro Delgado" userId="81c57fa2-c317-4e9d-b555-115c79435d2f" providerId="ADAL" clId="{66302D23-59A3-4D4E-9CC2-429C8835CF29}" dt="2025-01-20T14:48:48.562" v="5335" actId="2696"/>
        <pc:sldMkLst>
          <pc:docMk/>
          <pc:sldMk cId="330134892" sldId="485"/>
        </pc:sldMkLst>
      </pc:sldChg>
      <pc:sldChg chg="addSp delSp modSp add mod">
        <pc:chgData name="Luis Caro Delgado" userId="81c57fa2-c317-4e9d-b555-115c79435d2f" providerId="ADAL" clId="{66302D23-59A3-4D4E-9CC2-429C8835CF29}" dt="2025-01-17T11:16:57.996" v="4850" actId="113"/>
        <pc:sldMkLst>
          <pc:docMk/>
          <pc:sldMk cId="3582432814" sldId="486"/>
        </pc:sldMkLst>
      </pc:sldChg>
      <pc:sldChg chg="addSp delSp modSp add mod">
        <pc:chgData name="Luis Caro Delgado" userId="81c57fa2-c317-4e9d-b555-115c79435d2f" providerId="ADAL" clId="{66302D23-59A3-4D4E-9CC2-429C8835CF29}" dt="2025-01-17T11:39:45.906" v="5149"/>
        <pc:sldMkLst>
          <pc:docMk/>
          <pc:sldMk cId="163955755" sldId="487"/>
        </pc:sldMkLst>
      </pc:sldChg>
      <pc:sldChg chg="modSp add mod">
        <pc:chgData name="Luis Caro Delgado" userId="81c57fa2-c317-4e9d-b555-115c79435d2f" providerId="ADAL" clId="{66302D23-59A3-4D4E-9CC2-429C8835CF29}" dt="2025-01-20T22:35:35.249" v="5376" actId="12"/>
        <pc:sldMkLst>
          <pc:docMk/>
          <pc:sldMk cId="1845829592" sldId="488"/>
        </pc:sldMkLst>
      </pc:sldChg>
      <pc:sldChg chg="modSp add mod">
        <pc:chgData name="Luis Caro Delgado" userId="81c57fa2-c317-4e9d-b555-115c79435d2f" providerId="ADAL" clId="{66302D23-59A3-4D4E-9CC2-429C8835CF29}" dt="2025-01-17T11:46:27.340" v="5334" actId="20577"/>
        <pc:sldMkLst>
          <pc:docMk/>
          <pc:sldMk cId="811887742" sldId="489"/>
        </pc:sldMkLst>
      </pc:sldChg>
    </pc:docChg>
  </pc:docChgLst>
  <pc:docChgLst>
    <pc:chgData name="Lukas Rau" userId="S::lukas.rau@tum.de::a75e0523-20be-4fb9-acc6-1a36dfa716c4" providerId="AD" clId="Web-{70BA9B64-F027-64D1-95C5-3AA5A8F10CBE}"/>
    <pc:docChg chg="modSld">
      <pc:chgData name="Lukas Rau" userId="S::lukas.rau@tum.de::a75e0523-20be-4fb9-acc6-1a36dfa716c4" providerId="AD" clId="Web-{70BA9B64-F027-64D1-95C5-3AA5A8F10CBE}" dt="2025-01-24T12:03:35.871" v="2" actId="20577"/>
      <pc:docMkLst>
        <pc:docMk/>
      </pc:docMkLst>
      <pc:sldChg chg="modSp">
        <pc:chgData name="Lukas Rau" userId="S::lukas.rau@tum.de::a75e0523-20be-4fb9-acc6-1a36dfa716c4" providerId="AD" clId="Web-{70BA9B64-F027-64D1-95C5-3AA5A8F10CBE}" dt="2025-01-24T12:03:35.871" v="2" actId="20577"/>
        <pc:sldMkLst>
          <pc:docMk/>
          <pc:sldMk cId="2202070614" sldId="428"/>
        </pc:sldMkLst>
      </pc:sldChg>
    </pc:docChg>
  </pc:docChgLst>
  <pc:docChgLst>
    <pc:chgData name="Lukas Rau" userId="S::lukas.rau@tum.de::a75e0523-20be-4fb9-acc6-1a36dfa716c4" providerId="AD" clId="Web-{7E5A4EF4-6B2E-798A-74D0-EEEC7FBE4CBF}"/>
    <pc:docChg chg="modSld">
      <pc:chgData name="Lukas Rau" userId="S::lukas.rau@tum.de::a75e0523-20be-4fb9-acc6-1a36dfa716c4" providerId="AD" clId="Web-{7E5A4EF4-6B2E-798A-74D0-EEEC7FBE4CBF}" dt="2024-11-19T15:37:52.520" v="36" actId="20577"/>
      <pc:docMkLst>
        <pc:docMk/>
      </pc:docMkLst>
      <pc:sldChg chg="modSp">
        <pc:chgData name="Lukas Rau" userId="S::lukas.rau@tum.de::a75e0523-20be-4fb9-acc6-1a36dfa716c4" providerId="AD" clId="Web-{7E5A4EF4-6B2E-798A-74D0-EEEC7FBE4CBF}" dt="2024-11-19T15:37:52.520" v="36" actId="20577"/>
        <pc:sldMkLst>
          <pc:docMk/>
          <pc:sldMk cId="1183542163" sldId="339"/>
        </pc:sldMkLst>
      </pc:sldChg>
    </pc:docChg>
  </pc:docChgLst>
  <pc:docChgLst>
    <pc:chgData name="Sefa Sert" userId="S::sefa.sert@tum.de::efd7ad94-999b-4a47-9386-fda6558aa00c" providerId="AD" clId="Web-{2374F199-4B4B-4696-AF4B-34E788821E9B}"/>
    <pc:docChg chg="addSld delSld modSld modSection">
      <pc:chgData name="Sefa Sert" userId="S::sefa.sert@tum.de::efd7ad94-999b-4a47-9386-fda6558aa00c" providerId="AD" clId="Web-{2374F199-4B4B-4696-AF4B-34E788821E9B}" dt="2024-07-17T22:11:14.466" v="110" actId="14100"/>
      <pc:docMkLst>
        <pc:docMk/>
      </pc:docMkLst>
      <pc:sldChg chg="addSp delSp modSp">
        <pc:chgData name="Sefa Sert" userId="S::sefa.sert@tum.de::efd7ad94-999b-4a47-9386-fda6558aa00c" providerId="AD" clId="Web-{2374F199-4B4B-4696-AF4B-34E788821E9B}" dt="2024-07-17T22:10:23.745" v="107" actId="20577"/>
        <pc:sldMkLst>
          <pc:docMk/>
          <pc:sldMk cId="1127244407" sldId="341"/>
        </pc:sldMkLst>
      </pc:sldChg>
      <pc:sldChg chg="modSp">
        <pc:chgData name="Sefa Sert" userId="S::sefa.sert@tum.de::efd7ad94-999b-4a47-9386-fda6558aa00c" providerId="AD" clId="Web-{2374F199-4B4B-4696-AF4B-34E788821E9B}" dt="2024-07-17T22:11:14.466" v="110" actId="14100"/>
        <pc:sldMkLst>
          <pc:docMk/>
          <pc:sldMk cId="828749288" sldId="356"/>
        </pc:sldMkLst>
      </pc:sldChg>
      <pc:sldChg chg="del">
        <pc:chgData name="Sefa Sert" userId="S::sefa.sert@tum.de::efd7ad94-999b-4a47-9386-fda6558aa00c" providerId="AD" clId="Web-{2374F199-4B4B-4696-AF4B-34E788821E9B}" dt="2024-07-17T22:00:27.332" v="1"/>
        <pc:sldMkLst>
          <pc:docMk/>
          <pc:sldMk cId="3616379370" sldId="381"/>
        </pc:sldMkLst>
      </pc:sldChg>
      <pc:sldChg chg="modSp add replId">
        <pc:chgData name="Sefa Sert" userId="S::sefa.sert@tum.de::efd7ad94-999b-4a47-9386-fda6558aa00c" providerId="AD" clId="Web-{2374F199-4B4B-4696-AF4B-34E788821E9B}" dt="2024-07-17T22:10:27.120" v="109" actId="20577"/>
        <pc:sldMkLst>
          <pc:docMk/>
          <pc:sldMk cId="3051342241" sldId="384"/>
        </pc:sldMkLst>
      </pc:sldChg>
    </pc:docChg>
  </pc:docChgLst>
  <pc:docChgLst>
    <pc:chgData name="Nina Steger" userId="efda762e-901d-408b-befd-9a071afe5357" providerId="ADAL" clId="{E26D36BB-AAFD-CA48-BFF2-F53738353D0A}"/>
    <pc:docChg chg="undo custSel modSld">
      <pc:chgData name="Nina Steger" userId="efda762e-901d-408b-befd-9a071afe5357" providerId="ADAL" clId="{E26D36BB-AAFD-CA48-BFF2-F53738353D0A}" dt="2024-07-17T17:55:08.703" v="157" actId="20577"/>
      <pc:docMkLst>
        <pc:docMk/>
      </pc:docMkLst>
      <pc:sldChg chg="modSp mod">
        <pc:chgData name="Nina Steger" userId="efda762e-901d-408b-befd-9a071afe5357" providerId="ADAL" clId="{E26D36BB-AAFD-CA48-BFF2-F53738353D0A}" dt="2024-07-12T17:48:53.231" v="4" actId="20577"/>
        <pc:sldMkLst>
          <pc:docMk/>
          <pc:sldMk cId="3909716140" sldId="289"/>
        </pc:sldMkLst>
      </pc:sldChg>
      <pc:sldChg chg="addSp delSp modSp mod">
        <pc:chgData name="Nina Steger" userId="efda762e-901d-408b-befd-9a071afe5357" providerId="ADAL" clId="{E26D36BB-AAFD-CA48-BFF2-F53738353D0A}" dt="2024-07-17T17:48:25.318" v="93" actId="108"/>
        <pc:sldMkLst>
          <pc:docMk/>
          <pc:sldMk cId="3118018366" sldId="291"/>
        </pc:sldMkLst>
      </pc:sldChg>
      <pc:sldChg chg="modSp mod">
        <pc:chgData name="Nina Steger" userId="efda762e-901d-408b-befd-9a071afe5357" providerId="ADAL" clId="{E26D36BB-AAFD-CA48-BFF2-F53738353D0A}" dt="2024-07-12T17:53:16.120" v="9" actId="20577"/>
        <pc:sldMkLst>
          <pc:docMk/>
          <pc:sldMk cId="3807836379" sldId="292"/>
        </pc:sldMkLst>
      </pc:sldChg>
      <pc:sldChg chg="modSp mod">
        <pc:chgData name="Nina Steger" userId="efda762e-901d-408b-befd-9a071afe5357" providerId="ADAL" clId="{E26D36BB-AAFD-CA48-BFF2-F53738353D0A}" dt="2024-07-17T17:48:18.721" v="92" actId="113"/>
        <pc:sldMkLst>
          <pc:docMk/>
          <pc:sldMk cId="1360738081" sldId="295"/>
        </pc:sldMkLst>
      </pc:sldChg>
      <pc:sldChg chg="modSp mod">
        <pc:chgData name="Nina Steger" userId="efda762e-901d-408b-befd-9a071afe5357" providerId="ADAL" clId="{E26D36BB-AAFD-CA48-BFF2-F53738353D0A}" dt="2024-07-12T18:18:21.412" v="28" actId="20577"/>
        <pc:sldMkLst>
          <pc:docMk/>
          <pc:sldMk cId="3143837598" sldId="300"/>
        </pc:sldMkLst>
      </pc:sldChg>
      <pc:sldChg chg="modSp mod">
        <pc:chgData name="Nina Steger" userId="efda762e-901d-408b-befd-9a071afe5357" providerId="ADAL" clId="{E26D36BB-AAFD-CA48-BFF2-F53738353D0A}" dt="2024-07-17T17:50:47.672" v="123" actId="20577"/>
        <pc:sldMkLst>
          <pc:docMk/>
          <pc:sldMk cId="855508414" sldId="301"/>
        </pc:sldMkLst>
      </pc:sldChg>
      <pc:sldChg chg="modSp mod">
        <pc:chgData name="Nina Steger" userId="efda762e-901d-408b-befd-9a071afe5357" providerId="ADAL" clId="{E26D36BB-AAFD-CA48-BFF2-F53738353D0A}" dt="2024-07-17T17:49:02.220" v="105" actId="1076"/>
        <pc:sldMkLst>
          <pc:docMk/>
          <pc:sldMk cId="3109028800" sldId="306"/>
        </pc:sldMkLst>
      </pc:sldChg>
      <pc:sldChg chg="modSp mod">
        <pc:chgData name="Nina Steger" userId="efda762e-901d-408b-befd-9a071afe5357" providerId="ADAL" clId="{E26D36BB-AAFD-CA48-BFF2-F53738353D0A}" dt="2024-07-12T18:02:38.095" v="26" actId="179"/>
        <pc:sldMkLst>
          <pc:docMk/>
          <pc:sldMk cId="2790215641" sldId="308"/>
        </pc:sldMkLst>
      </pc:sldChg>
      <pc:sldChg chg="modSp mod">
        <pc:chgData name="Nina Steger" userId="efda762e-901d-408b-befd-9a071afe5357" providerId="ADAL" clId="{E26D36BB-AAFD-CA48-BFF2-F53738353D0A}" dt="2024-07-13T16:19:13.165" v="29" actId="1076"/>
        <pc:sldMkLst>
          <pc:docMk/>
          <pc:sldMk cId="3420601596" sldId="315"/>
        </pc:sldMkLst>
      </pc:sldChg>
      <pc:sldChg chg="modCm">
        <pc:chgData name="Nina Steger" userId="efda762e-901d-408b-befd-9a071afe5357" providerId="ADAL" clId="{E26D36BB-AAFD-CA48-BFF2-F53738353D0A}" dt="2024-07-17T17:10:37.064" v="30" actId="2056"/>
        <pc:sldMkLst>
          <pc:docMk/>
          <pc:sldMk cId="1126850562" sldId="317"/>
        </pc:sldMkLst>
        <pc:extLst>
          <p:ext xmlns:p="http://schemas.openxmlformats.org/presentationml/2006/main" uri="{D6D511B9-2390-475A-947B-AFAB55BFBCF1}">
            <pc226:cmChg xmlns:pc226="http://schemas.microsoft.com/office/powerpoint/2022/06/main/command" chg="mod">
              <pc226:chgData name="Nina Steger" userId="efda762e-901d-408b-befd-9a071afe5357" providerId="ADAL" clId="{E26D36BB-AAFD-CA48-BFF2-F53738353D0A}" dt="2024-07-17T17:10:37.064" v="30" actId="2056"/>
              <pc2:cmMkLst xmlns:pc2="http://schemas.microsoft.com/office/powerpoint/2019/9/main/command">
                <pc:docMk/>
                <pc:sldMk cId="1126850562" sldId="317"/>
                <pc2:cmMk id="{BC01B87E-690F-46EC-80C3-F27115905BD7}"/>
              </pc2:cmMkLst>
            </pc226:cmChg>
            <pc226:cmChg xmlns:pc226="http://schemas.microsoft.com/office/powerpoint/2022/06/main/command" chg="mod">
              <pc226:chgData name="Nina Steger" userId="efda762e-901d-408b-befd-9a071afe5357" providerId="ADAL" clId="{E26D36BB-AAFD-CA48-BFF2-F53738353D0A}" dt="2024-07-17T17:10:37.064" v="30" actId="2056"/>
              <pc2:cmMkLst xmlns:pc2="http://schemas.microsoft.com/office/powerpoint/2019/9/main/command">
                <pc:docMk/>
                <pc:sldMk cId="1126850562" sldId="317"/>
                <pc2:cmMk id="{0DE0CADC-1697-4306-B606-ACAEDB63640B}"/>
              </pc2:cmMkLst>
            </pc226:cmChg>
          </p:ext>
        </pc:extLst>
      </pc:sldChg>
      <pc:sldChg chg="modSp mod">
        <pc:chgData name="Nina Steger" userId="efda762e-901d-408b-befd-9a071afe5357" providerId="ADAL" clId="{E26D36BB-AAFD-CA48-BFF2-F53738353D0A}" dt="2024-07-17T17:55:08.703" v="157" actId="20577"/>
        <pc:sldMkLst>
          <pc:docMk/>
          <pc:sldMk cId="1662382075" sldId="367"/>
        </pc:sldMkLst>
      </pc:sldChg>
    </pc:docChg>
  </pc:docChgLst>
  <pc:docChgLst>
    <pc:chgData name="Nina Steger" userId="S::nina.steger@tum.de::efda762e-901d-408b-befd-9a071afe5357" providerId="AD" clId="Web-{C595C021-A056-8CC9-F90C-6682A4B32243}"/>
    <pc:docChg chg="mod modSld">
      <pc:chgData name="Nina Steger" userId="S::nina.steger@tum.de::efda762e-901d-408b-befd-9a071afe5357" providerId="AD" clId="Web-{C595C021-A056-8CC9-F90C-6682A4B32243}" dt="2024-07-17T16:50:57.983" v="98"/>
      <pc:docMkLst>
        <pc:docMk/>
      </pc:docMkLst>
      <pc:sldChg chg="addSp delSp modSp">
        <pc:chgData name="Nina Steger" userId="S::nina.steger@tum.de::efda762e-901d-408b-befd-9a071afe5357" providerId="AD" clId="Web-{C595C021-A056-8CC9-F90C-6682A4B32243}" dt="2024-07-17T16:46:07.272" v="93" actId="20577"/>
        <pc:sldMkLst>
          <pc:docMk/>
          <pc:sldMk cId="1126850562" sldId="317"/>
        </pc:sldMkLst>
      </pc:sldChg>
      <pc:sldChg chg="addSp modSp">
        <pc:chgData name="Nina Steger" userId="S::nina.steger@tum.de::efda762e-901d-408b-befd-9a071afe5357" providerId="AD" clId="Web-{C595C021-A056-8CC9-F90C-6682A4B32243}" dt="2024-07-17T16:50:57.983" v="98"/>
        <pc:sldMkLst>
          <pc:docMk/>
          <pc:sldMk cId="1910569066" sldId="323"/>
        </pc:sldMkLst>
      </pc:sldChg>
      <pc:sldChg chg="modSp addCm">
        <pc:chgData name="Nina Steger" userId="S::nina.steger@tum.de::efda762e-901d-408b-befd-9a071afe5357" providerId="AD" clId="Web-{C595C021-A056-8CC9-F90C-6682A4B32243}" dt="2024-07-17T16:25:44.486" v="45"/>
        <pc:sldMkLst>
          <pc:docMk/>
          <pc:sldMk cId="3782668847" sldId="325"/>
        </pc:sldMkLst>
        <pc:extLst>
          <p:ext xmlns:p="http://schemas.openxmlformats.org/presentationml/2006/main" uri="{D6D511B9-2390-475A-947B-AFAB55BFBCF1}">
            <pc226:cmChg xmlns:pc226="http://schemas.microsoft.com/office/powerpoint/2022/06/main/command" chg="add">
              <pc226:chgData name="Nina Steger" userId="S::nina.steger@tum.de::efda762e-901d-408b-befd-9a071afe5357" providerId="AD" clId="Web-{C595C021-A056-8CC9-F90C-6682A4B32243}" dt="2024-07-17T16:25:44.486" v="45"/>
              <pc2:cmMkLst xmlns:pc2="http://schemas.microsoft.com/office/powerpoint/2019/9/main/command">
                <pc:docMk/>
                <pc:sldMk cId="3782668847" sldId="325"/>
                <pc2:cmMk id="{95C0741E-86D4-441F-A944-135A0B0FBAAE}"/>
              </pc2:cmMkLst>
            </pc226:cmChg>
          </p:ext>
        </pc:extLst>
      </pc:sldChg>
    </pc:docChg>
  </pc:docChgLst>
  <pc:docChgLst>
    <pc:chgData name="Bianca Bacci" userId="83bb2da2-bed4-4ef3-8a15-9eeec0e86db8" providerId="ADAL" clId="{CA098536-BB6B-4BEB-9197-D05AD465487D}"/>
    <pc:docChg chg="modSld">
      <pc:chgData name="Bianca Bacci" userId="83bb2da2-bed4-4ef3-8a15-9eeec0e86db8" providerId="ADAL" clId="{CA098536-BB6B-4BEB-9197-D05AD465487D}" dt="2024-07-18T11:32:15.116" v="5"/>
      <pc:docMkLst>
        <pc:docMk/>
      </pc:docMkLst>
      <pc:sldChg chg="modSp mod">
        <pc:chgData name="Bianca Bacci" userId="83bb2da2-bed4-4ef3-8a15-9eeec0e86db8" providerId="ADAL" clId="{CA098536-BB6B-4BEB-9197-D05AD465487D}" dt="2024-07-18T11:28:50.133" v="2" actId="1076"/>
        <pc:sldMkLst>
          <pc:docMk/>
          <pc:sldMk cId="3553033900" sldId="287"/>
        </pc:sldMkLst>
      </pc:sldChg>
      <pc:sldChg chg="modSp mod">
        <pc:chgData name="Bianca Bacci" userId="83bb2da2-bed4-4ef3-8a15-9eeec0e86db8" providerId="ADAL" clId="{CA098536-BB6B-4BEB-9197-D05AD465487D}" dt="2024-07-18T11:32:15.116" v="5"/>
        <pc:sldMkLst>
          <pc:docMk/>
          <pc:sldMk cId="1347835055" sldId="366"/>
        </pc:sldMkLst>
      </pc:sldChg>
      <pc:sldChg chg="modSp mod">
        <pc:chgData name="Bianca Bacci" userId="83bb2da2-bed4-4ef3-8a15-9eeec0e86db8" providerId="ADAL" clId="{CA098536-BB6B-4BEB-9197-D05AD465487D}" dt="2024-07-18T11:29:19.588" v="4"/>
        <pc:sldMkLst>
          <pc:docMk/>
          <pc:sldMk cId="1237709550" sldId="374"/>
        </pc:sldMkLst>
      </pc:sldChg>
    </pc:docChg>
  </pc:docChgLst>
  <pc:docChgLst>
    <pc:chgData name="Lukas Rau" userId="S::lukas.rau@tum.de::a75e0523-20be-4fb9-acc6-1a36dfa716c4" providerId="AD" clId="Web-{EBFE06FB-DFDD-67FE-F312-95ED0516D081}"/>
    <pc:docChg chg="modSld">
      <pc:chgData name="Lukas Rau" userId="S::lukas.rau@tum.de::a75e0523-20be-4fb9-acc6-1a36dfa716c4" providerId="AD" clId="Web-{EBFE06FB-DFDD-67FE-F312-95ED0516D081}" dt="2025-01-30T18:46:00.660" v="8" actId="1076"/>
      <pc:docMkLst>
        <pc:docMk/>
      </pc:docMkLst>
      <pc:sldChg chg="modSp">
        <pc:chgData name="Lukas Rau" userId="S::lukas.rau@tum.de::a75e0523-20be-4fb9-acc6-1a36dfa716c4" providerId="AD" clId="Web-{EBFE06FB-DFDD-67FE-F312-95ED0516D081}" dt="2025-01-30T18:46:00.660" v="8" actId="1076"/>
        <pc:sldMkLst>
          <pc:docMk/>
          <pc:sldMk cId="4004313946" sldId="399"/>
        </pc:sldMkLst>
      </pc:sldChg>
      <pc:sldChg chg="modSp">
        <pc:chgData name="Lukas Rau" userId="S::lukas.rau@tum.de::a75e0523-20be-4fb9-acc6-1a36dfa716c4" providerId="AD" clId="Web-{EBFE06FB-DFDD-67FE-F312-95ED0516D081}" dt="2025-01-30T18:45:22.721" v="3" actId="1076"/>
        <pc:sldMkLst>
          <pc:docMk/>
          <pc:sldMk cId="515090417" sldId="409"/>
        </pc:sldMkLst>
      </pc:sldChg>
    </pc:docChg>
  </pc:docChgLst>
  <pc:docChgLst>
    <pc:chgData name="Moritz Finn Cordes" userId="204e5feb-1d56-4254-8ae1-e45f8d7d96e7" providerId="ADAL" clId="{AA18A7FA-8F65-4616-A62F-F44227699218}"/>
    <pc:docChg chg="undo custSel modSld">
      <pc:chgData name="Moritz Finn Cordes" userId="204e5feb-1d56-4254-8ae1-e45f8d7d96e7" providerId="ADAL" clId="{AA18A7FA-8F65-4616-A62F-F44227699218}" dt="2024-07-17T20:31:54.221" v="69" actId="20577"/>
      <pc:docMkLst>
        <pc:docMk/>
      </pc:docMkLst>
      <pc:sldChg chg="modSp mod">
        <pc:chgData name="Moritz Finn Cordes" userId="204e5feb-1d56-4254-8ae1-e45f8d7d96e7" providerId="ADAL" clId="{AA18A7FA-8F65-4616-A62F-F44227699218}" dt="2024-07-17T20:31:54.221" v="69" actId="20577"/>
        <pc:sldMkLst>
          <pc:docMk/>
          <pc:sldMk cId="3553033900" sldId="287"/>
        </pc:sldMkLst>
      </pc:sldChg>
      <pc:sldChg chg="modSp mod">
        <pc:chgData name="Moritz Finn Cordes" userId="204e5feb-1d56-4254-8ae1-e45f8d7d96e7" providerId="ADAL" clId="{AA18A7FA-8F65-4616-A62F-F44227699218}" dt="2024-07-17T20:22:21.870" v="30" actId="2711"/>
        <pc:sldMkLst>
          <pc:docMk/>
          <pc:sldMk cId="1836807439" sldId="290"/>
        </pc:sldMkLst>
      </pc:sldChg>
      <pc:sldChg chg="modSp mod">
        <pc:chgData name="Moritz Finn Cordes" userId="204e5feb-1d56-4254-8ae1-e45f8d7d96e7" providerId="ADAL" clId="{AA18A7FA-8F65-4616-A62F-F44227699218}" dt="2024-07-17T20:18:02.809" v="27" actId="20577"/>
        <pc:sldMkLst>
          <pc:docMk/>
          <pc:sldMk cId="3118018366" sldId="291"/>
        </pc:sldMkLst>
      </pc:sldChg>
      <pc:sldChg chg="modSp mod">
        <pc:chgData name="Moritz Finn Cordes" userId="204e5feb-1d56-4254-8ae1-e45f8d7d96e7" providerId="ADAL" clId="{AA18A7FA-8F65-4616-A62F-F44227699218}" dt="2024-07-17T20:25:06.396" v="38" actId="2711"/>
        <pc:sldMkLst>
          <pc:docMk/>
          <pc:sldMk cId="1997358788" sldId="297"/>
        </pc:sldMkLst>
      </pc:sldChg>
      <pc:sldChg chg="modSp mod">
        <pc:chgData name="Moritz Finn Cordes" userId="204e5feb-1d56-4254-8ae1-e45f8d7d96e7" providerId="ADAL" clId="{AA18A7FA-8F65-4616-A62F-F44227699218}" dt="2024-07-17T20:24:40.072" v="35" actId="113"/>
        <pc:sldMkLst>
          <pc:docMk/>
          <pc:sldMk cId="2451751709" sldId="298"/>
        </pc:sldMkLst>
      </pc:sldChg>
      <pc:sldChg chg="modSp mod">
        <pc:chgData name="Moritz Finn Cordes" userId="204e5feb-1d56-4254-8ae1-e45f8d7d96e7" providerId="ADAL" clId="{AA18A7FA-8F65-4616-A62F-F44227699218}" dt="2024-07-17T20:23:34.581" v="32" actId="2711"/>
        <pc:sldMkLst>
          <pc:docMk/>
          <pc:sldMk cId="1340192637" sldId="305"/>
        </pc:sldMkLst>
      </pc:sldChg>
      <pc:sldChg chg="modSp mod">
        <pc:chgData name="Moritz Finn Cordes" userId="204e5feb-1d56-4254-8ae1-e45f8d7d96e7" providerId="ADAL" clId="{AA18A7FA-8F65-4616-A62F-F44227699218}" dt="2024-07-17T20:25:17.555" v="39" actId="2711"/>
        <pc:sldMkLst>
          <pc:docMk/>
          <pc:sldMk cId="767817792" sldId="314"/>
        </pc:sldMkLst>
      </pc:sldChg>
      <pc:sldChg chg="modSp mod">
        <pc:chgData name="Moritz Finn Cordes" userId="204e5feb-1d56-4254-8ae1-e45f8d7d96e7" providerId="ADAL" clId="{AA18A7FA-8F65-4616-A62F-F44227699218}" dt="2024-07-17T20:25:41.800" v="40" actId="2711"/>
        <pc:sldMkLst>
          <pc:docMk/>
          <pc:sldMk cId="16049607" sldId="322"/>
        </pc:sldMkLst>
      </pc:sldChg>
      <pc:sldChg chg="modSp mod">
        <pc:chgData name="Moritz Finn Cordes" userId="204e5feb-1d56-4254-8ae1-e45f8d7d96e7" providerId="ADAL" clId="{AA18A7FA-8F65-4616-A62F-F44227699218}" dt="2024-07-17T20:25:52.214" v="41" actId="2711"/>
        <pc:sldMkLst>
          <pc:docMk/>
          <pc:sldMk cId="2591005778" sldId="324"/>
        </pc:sldMkLst>
      </pc:sldChg>
      <pc:sldChg chg="modSp mod">
        <pc:chgData name="Moritz Finn Cordes" userId="204e5feb-1d56-4254-8ae1-e45f8d7d96e7" providerId="ADAL" clId="{AA18A7FA-8F65-4616-A62F-F44227699218}" dt="2024-07-17T20:27:11.070" v="47" actId="947"/>
        <pc:sldMkLst>
          <pc:docMk/>
          <pc:sldMk cId="4115732553" sldId="326"/>
        </pc:sldMkLst>
      </pc:sldChg>
      <pc:sldChg chg="modSp mod">
        <pc:chgData name="Moritz Finn Cordes" userId="204e5feb-1d56-4254-8ae1-e45f8d7d96e7" providerId="ADAL" clId="{AA18A7FA-8F65-4616-A62F-F44227699218}" dt="2024-07-17T20:27:23.609" v="48" actId="2711"/>
        <pc:sldMkLst>
          <pc:docMk/>
          <pc:sldMk cId="915207829" sldId="328"/>
        </pc:sldMkLst>
      </pc:sldChg>
      <pc:sldChg chg="modSp mod">
        <pc:chgData name="Moritz Finn Cordes" userId="204e5feb-1d56-4254-8ae1-e45f8d7d96e7" providerId="ADAL" clId="{AA18A7FA-8F65-4616-A62F-F44227699218}" dt="2024-07-17T20:27:49.803" v="50" actId="2711"/>
        <pc:sldMkLst>
          <pc:docMk/>
          <pc:sldMk cId="659666124" sldId="332"/>
        </pc:sldMkLst>
      </pc:sldChg>
      <pc:sldChg chg="modSp mod">
        <pc:chgData name="Moritz Finn Cordes" userId="204e5feb-1d56-4254-8ae1-e45f8d7d96e7" providerId="ADAL" clId="{AA18A7FA-8F65-4616-A62F-F44227699218}" dt="2024-07-17T20:27:56.376" v="51" actId="2711"/>
        <pc:sldMkLst>
          <pc:docMk/>
          <pc:sldMk cId="1361510755" sldId="333"/>
        </pc:sldMkLst>
      </pc:sldChg>
      <pc:sldChg chg="modSp mod">
        <pc:chgData name="Moritz Finn Cordes" userId="204e5feb-1d56-4254-8ae1-e45f8d7d96e7" providerId="ADAL" clId="{AA18A7FA-8F65-4616-A62F-F44227699218}" dt="2024-07-17T20:27:41.023" v="49" actId="2711"/>
        <pc:sldMkLst>
          <pc:docMk/>
          <pc:sldMk cId="2573843723" sldId="369"/>
        </pc:sldMkLst>
      </pc:sldChg>
      <pc:sldChg chg="modSp mod">
        <pc:chgData name="Moritz Finn Cordes" userId="204e5feb-1d56-4254-8ae1-e45f8d7d96e7" providerId="ADAL" clId="{AA18A7FA-8F65-4616-A62F-F44227699218}" dt="2024-07-17T19:45:25.601" v="8"/>
        <pc:sldMkLst>
          <pc:docMk/>
          <pc:sldMk cId="1237709550" sldId="374"/>
        </pc:sldMkLst>
      </pc:sldChg>
      <pc:sldChg chg="modSp mod">
        <pc:chgData name="Moritz Finn Cordes" userId="204e5feb-1d56-4254-8ae1-e45f8d7d96e7" providerId="ADAL" clId="{AA18A7FA-8F65-4616-A62F-F44227699218}" dt="2024-07-17T20:22:53.036" v="31" actId="2711"/>
        <pc:sldMkLst>
          <pc:docMk/>
          <pc:sldMk cId="2849113408" sldId="375"/>
        </pc:sldMkLst>
      </pc:sldChg>
    </pc:docChg>
  </pc:docChgLst>
  <pc:docChgLst>
    <pc:chgData name="Bianca Bacci" userId="83bb2da2-bed4-4ef3-8a15-9eeec0e86db8" providerId="ADAL" clId="{5E9C5533-7E7C-4059-827C-10DF17599533}"/>
    <pc:docChg chg="modSld">
      <pc:chgData name="Bianca Bacci" userId="83bb2da2-bed4-4ef3-8a15-9eeec0e86db8" providerId="ADAL" clId="{5E9C5533-7E7C-4059-827C-10DF17599533}" dt="2024-07-17T13:02:53.282" v="22" actId="6549"/>
      <pc:docMkLst>
        <pc:docMk/>
      </pc:docMkLst>
      <pc:sldChg chg="modSp mod">
        <pc:chgData name="Bianca Bacci" userId="83bb2da2-bed4-4ef3-8a15-9eeec0e86db8" providerId="ADAL" clId="{5E9C5533-7E7C-4059-827C-10DF17599533}" dt="2024-07-17T12:58:10.423" v="0" actId="1076"/>
        <pc:sldMkLst>
          <pc:docMk/>
          <pc:sldMk cId="3553033900" sldId="287"/>
        </pc:sldMkLst>
      </pc:sldChg>
      <pc:sldChg chg="modSp mod">
        <pc:chgData name="Bianca Bacci" userId="83bb2da2-bed4-4ef3-8a15-9eeec0e86db8" providerId="ADAL" clId="{5E9C5533-7E7C-4059-827C-10DF17599533}" dt="2024-07-17T13:02:22.620" v="7" actId="20577"/>
        <pc:sldMkLst>
          <pc:docMk/>
          <pc:sldMk cId="3118018366" sldId="291"/>
        </pc:sldMkLst>
      </pc:sldChg>
      <pc:sldChg chg="modSp mod">
        <pc:chgData name="Bianca Bacci" userId="83bb2da2-bed4-4ef3-8a15-9eeec0e86db8" providerId="ADAL" clId="{5E9C5533-7E7C-4059-827C-10DF17599533}" dt="2024-07-17T13:02:35.572" v="11" actId="20577"/>
        <pc:sldMkLst>
          <pc:docMk/>
          <pc:sldMk cId="1360738081" sldId="295"/>
        </pc:sldMkLst>
      </pc:sldChg>
      <pc:sldChg chg="modSp mod">
        <pc:chgData name="Bianca Bacci" userId="83bb2da2-bed4-4ef3-8a15-9eeec0e86db8" providerId="ADAL" clId="{5E9C5533-7E7C-4059-827C-10DF17599533}" dt="2024-07-17T13:02:53.282" v="22" actId="6549"/>
        <pc:sldMkLst>
          <pc:docMk/>
          <pc:sldMk cId="3109028800" sldId="306"/>
        </pc:sldMkLst>
      </pc:sldChg>
    </pc:docChg>
  </pc:docChgLst>
  <pc:docChgLst>
    <pc:chgData name="Lukas Rau" userId="S::lukas.rau@tum.de::a75e0523-20be-4fb9-acc6-1a36dfa716c4" providerId="AD" clId="Web-{E304DABA-5983-E13B-32A7-55564DDB62C1}"/>
    <pc:docChg chg="addSld delSld modSld sldOrd modSection">
      <pc:chgData name="Lukas Rau" userId="S::lukas.rau@tum.de::a75e0523-20be-4fb9-acc6-1a36dfa716c4" providerId="AD" clId="Web-{E304DABA-5983-E13B-32A7-55564DDB62C1}" dt="2024-11-25T15:26:51.261" v="307" actId="20577"/>
      <pc:docMkLst>
        <pc:docMk/>
      </pc:docMkLst>
      <pc:sldChg chg="delSp modSp add ord replId">
        <pc:chgData name="Lukas Rau" userId="S::lukas.rau@tum.de::a75e0523-20be-4fb9-acc6-1a36dfa716c4" providerId="AD" clId="Web-{E304DABA-5983-E13B-32A7-55564DDB62C1}" dt="2024-11-25T15:18:15.165" v="34"/>
        <pc:sldMkLst>
          <pc:docMk/>
          <pc:sldMk cId="941397807" sldId="391"/>
        </pc:sldMkLst>
      </pc:sldChg>
      <pc:sldChg chg="addSp delSp modSp add ord replId">
        <pc:chgData name="Lukas Rau" userId="S::lukas.rau@tum.de::a75e0523-20be-4fb9-acc6-1a36dfa716c4" providerId="AD" clId="Web-{E304DABA-5983-E13B-32A7-55564DDB62C1}" dt="2024-11-25T15:19:00.870" v="53" actId="20577"/>
        <pc:sldMkLst>
          <pc:docMk/>
          <pc:sldMk cId="2094346554" sldId="392"/>
        </pc:sldMkLst>
      </pc:sldChg>
      <pc:sldChg chg="add replId">
        <pc:chgData name="Lukas Rau" userId="S::lukas.rau@tum.de::a75e0523-20be-4fb9-acc6-1a36dfa716c4" providerId="AD" clId="Web-{E304DABA-5983-E13B-32A7-55564DDB62C1}" dt="2024-11-25T15:19:10.260" v="54"/>
        <pc:sldMkLst>
          <pc:docMk/>
          <pc:sldMk cId="3356948816" sldId="393"/>
        </pc:sldMkLst>
      </pc:sldChg>
      <pc:sldChg chg="modSp add ord replId">
        <pc:chgData name="Lukas Rau" userId="S::lukas.rau@tum.de::a75e0523-20be-4fb9-acc6-1a36dfa716c4" providerId="AD" clId="Web-{E304DABA-5983-E13B-32A7-55564DDB62C1}" dt="2024-11-25T15:20:35.795" v="81" actId="20577"/>
        <pc:sldMkLst>
          <pc:docMk/>
          <pc:sldMk cId="3617146395" sldId="394"/>
        </pc:sldMkLst>
      </pc:sldChg>
      <pc:sldChg chg="addSp delSp modSp add replId">
        <pc:chgData name="Lukas Rau" userId="S::lukas.rau@tum.de::a75e0523-20be-4fb9-acc6-1a36dfa716c4" providerId="AD" clId="Web-{E304DABA-5983-E13B-32A7-55564DDB62C1}" dt="2024-11-25T15:24:01.333" v="167" actId="20577"/>
        <pc:sldMkLst>
          <pc:docMk/>
          <pc:sldMk cId="729264360" sldId="395"/>
        </pc:sldMkLst>
      </pc:sldChg>
      <pc:sldChg chg="delSp modSp add del replId">
        <pc:chgData name="Lukas Rau" userId="S::lukas.rau@tum.de::a75e0523-20be-4fb9-acc6-1a36dfa716c4" providerId="AD" clId="Web-{E304DABA-5983-E13B-32A7-55564DDB62C1}" dt="2024-11-25T15:24:07.568" v="169"/>
        <pc:sldMkLst>
          <pc:docMk/>
          <pc:sldMk cId="2962425507" sldId="396"/>
        </pc:sldMkLst>
      </pc:sldChg>
      <pc:sldChg chg="delSp modSp add ord replId">
        <pc:chgData name="Lukas Rau" userId="S::lukas.rau@tum.de::a75e0523-20be-4fb9-acc6-1a36dfa716c4" providerId="AD" clId="Web-{E304DABA-5983-E13B-32A7-55564DDB62C1}" dt="2024-11-25T15:25:25.665" v="251" actId="20577"/>
        <pc:sldMkLst>
          <pc:docMk/>
          <pc:sldMk cId="4224912597" sldId="397"/>
        </pc:sldMkLst>
      </pc:sldChg>
      <pc:sldChg chg="modSp add ord replId">
        <pc:chgData name="Lukas Rau" userId="S::lukas.rau@tum.de::a75e0523-20be-4fb9-acc6-1a36dfa716c4" providerId="AD" clId="Web-{E304DABA-5983-E13B-32A7-55564DDB62C1}" dt="2024-11-25T15:26:51.261" v="307" actId="20577"/>
        <pc:sldMkLst>
          <pc:docMk/>
          <pc:sldMk cId="3795676206" sldId="398"/>
        </pc:sldMkLst>
      </pc:sldChg>
    </pc:docChg>
  </pc:docChgLst>
  <pc:docChgLst>
    <pc:chgData name="Lukas Rau" userId="S::lukas.rau@tum.de::a75e0523-20be-4fb9-acc6-1a36dfa716c4" providerId="AD" clId="Web-{33ECE5AC-2C71-C8F4-7EFD-21E24C9D0572}"/>
    <pc:docChg chg="modSld">
      <pc:chgData name="Lukas Rau" userId="S::lukas.rau@tum.de::a75e0523-20be-4fb9-acc6-1a36dfa716c4" providerId="AD" clId="Web-{33ECE5AC-2C71-C8F4-7EFD-21E24C9D0572}" dt="2024-11-21T15:32:02.785" v="7"/>
      <pc:docMkLst>
        <pc:docMk/>
      </pc:docMkLst>
      <pc:sldChg chg="addSp modSp">
        <pc:chgData name="Lukas Rau" userId="S::lukas.rau@tum.de::a75e0523-20be-4fb9-acc6-1a36dfa716c4" providerId="AD" clId="Web-{33ECE5AC-2C71-C8F4-7EFD-21E24C9D0572}" dt="2024-11-21T15:32:02.785" v="7"/>
        <pc:sldMkLst>
          <pc:docMk/>
          <pc:sldMk cId="2974701433" sldId="336"/>
        </pc:sldMkLst>
      </pc:sldChg>
    </pc:docChg>
  </pc:docChgLst>
  <pc:docChgLst>
    <pc:chgData name="Nina Steger" userId="S::nina.steger@tum.de::efda762e-901d-408b-befd-9a071afe5357" providerId="AD" clId="Web-{E0CFB551-4B6E-CC67-116B-B8BDF469E60B}"/>
    <pc:docChg chg="addSld modSld sldOrd addSection delSection modSection">
      <pc:chgData name="Nina Steger" userId="S::nina.steger@tum.de::efda762e-901d-408b-befd-9a071afe5357" providerId="AD" clId="Web-{E0CFB551-4B6E-CC67-116B-B8BDF469E60B}" dt="2024-07-16T20:31:37.704" v="46"/>
      <pc:docMkLst>
        <pc:docMk/>
      </pc:docMkLst>
      <pc:sldChg chg="modSp">
        <pc:chgData name="Nina Steger" userId="S::nina.steger@tum.de::efda762e-901d-408b-befd-9a071afe5357" providerId="AD" clId="Web-{E0CFB551-4B6E-CC67-116B-B8BDF469E60B}" dt="2024-07-16T20:05:29.101" v="25"/>
        <pc:sldMkLst>
          <pc:docMk/>
          <pc:sldMk cId="2457093950" sldId="281"/>
        </pc:sldMkLst>
      </pc:sldChg>
      <pc:sldChg chg="modSp modCm">
        <pc:chgData name="Nina Steger" userId="S::nina.steger@tum.de::efda762e-901d-408b-befd-9a071afe5357" providerId="AD" clId="Web-{E0CFB551-4B6E-CC67-116B-B8BDF469E60B}" dt="2024-07-16T19:17:43.709" v="4" actId="20577"/>
        <pc:sldMkLst>
          <pc:docMk/>
          <pc:sldMk cId="2977954321" sldId="304"/>
        </pc:sldMkLst>
        <pc:extLst>
          <p:ext xmlns:p="http://schemas.openxmlformats.org/presentationml/2006/main" uri="{D6D511B9-2390-475A-947B-AFAB55BFBCF1}">
            <pc226:cmChg xmlns:pc226="http://schemas.microsoft.com/office/powerpoint/2022/06/main/command" chg="mod">
              <pc226:chgData name="Nina Steger" userId="S::nina.steger@tum.de::efda762e-901d-408b-befd-9a071afe5357" providerId="AD" clId="Web-{E0CFB551-4B6E-CC67-116B-B8BDF469E60B}" dt="2024-07-16T19:17:32.877" v="1" actId="20577"/>
              <pc2:cmMkLst xmlns:pc2="http://schemas.microsoft.com/office/powerpoint/2019/9/main/command">
                <pc:docMk/>
                <pc:sldMk cId="2977954321" sldId="304"/>
                <pc2:cmMk id="{62F6486F-00F4-4909-B2AC-816A058E57BD}"/>
              </pc2:cmMkLst>
            </pc226:cmChg>
          </p:ext>
        </pc:extLst>
      </pc:sldChg>
      <pc:sldChg chg="modSp add replId">
        <pc:chgData name="Nina Steger" userId="S::nina.steger@tum.de::efda762e-901d-408b-befd-9a071afe5357" providerId="AD" clId="Web-{E0CFB551-4B6E-CC67-116B-B8BDF469E60B}" dt="2024-07-16T20:30:33.421" v="41" actId="20577"/>
        <pc:sldMkLst>
          <pc:docMk/>
          <pc:sldMk cId="3237785027" sldId="354"/>
        </pc:sldMkLst>
      </pc:sldChg>
    </pc:docChg>
  </pc:docChgLst>
  <pc:docChgLst>
    <pc:chgData name="Lukas Rau" userId="S::lukas.rau@tum.de::a75e0523-20be-4fb9-acc6-1a36dfa716c4" providerId="AD" clId="Web-{AAEF4E6B-0694-311F-E47E-6FC6C15CF63E}"/>
    <pc:docChg chg="modSld">
      <pc:chgData name="Lukas Rau" userId="S::lukas.rau@tum.de::a75e0523-20be-4fb9-acc6-1a36dfa716c4" providerId="AD" clId="Web-{AAEF4E6B-0694-311F-E47E-6FC6C15CF63E}" dt="2025-01-21T13:11:00.797" v="66" actId="20577"/>
      <pc:docMkLst>
        <pc:docMk/>
      </pc:docMkLst>
      <pc:sldChg chg="modSp">
        <pc:chgData name="Lukas Rau" userId="S::lukas.rau@tum.de::a75e0523-20be-4fb9-acc6-1a36dfa716c4" providerId="AD" clId="Web-{AAEF4E6B-0694-311F-E47E-6FC6C15CF63E}" dt="2025-01-21T13:08:55.839" v="45" actId="20577"/>
        <pc:sldMkLst>
          <pc:docMk/>
          <pc:sldMk cId="3670737395" sldId="404"/>
        </pc:sldMkLst>
      </pc:sldChg>
      <pc:sldChg chg="modSp">
        <pc:chgData name="Lukas Rau" userId="S::lukas.rau@tum.de::a75e0523-20be-4fb9-acc6-1a36dfa716c4" providerId="AD" clId="Web-{AAEF4E6B-0694-311F-E47E-6FC6C15CF63E}" dt="2025-01-21T13:11:00.797" v="66" actId="20577"/>
        <pc:sldMkLst>
          <pc:docMk/>
          <pc:sldMk cId="515090417" sldId="409"/>
        </pc:sldMkLst>
      </pc:sldChg>
      <pc:sldChg chg="modSp">
        <pc:chgData name="Lukas Rau" userId="S::lukas.rau@tum.de::a75e0523-20be-4fb9-acc6-1a36dfa716c4" providerId="AD" clId="Web-{AAEF4E6B-0694-311F-E47E-6FC6C15CF63E}" dt="2025-01-21T13:02:53.295" v="1" actId="20577"/>
        <pc:sldMkLst>
          <pc:docMk/>
          <pc:sldMk cId="4050617437" sldId="445"/>
        </pc:sldMkLst>
      </pc:sldChg>
      <pc:sldChg chg="modSp">
        <pc:chgData name="Lukas Rau" userId="S::lukas.rau@tum.de::a75e0523-20be-4fb9-acc6-1a36dfa716c4" providerId="AD" clId="Web-{AAEF4E6B-0694-311F-E47E-6FC6C15CF63E}" dt="2025-01-21T13:10:32.905" v="62" actId="20577"/>
        <pc:sldMkLst>
          <pc:docMk/>
          <pc:sldMk cId="3416925434" sldId="455"/>
        </pc:sldMkLst>
      </pc:sldChg>
    </pc:docChg>
  </pc:docChgLst>
  <pc:docChgLst>
    <pc:chgData name="Lukas Rau" userId="S::lukas.rau@tum.de::a75e0523-20be-4fb9-acc6-1a36dfa716c4" providerId="AD" clId="Web-{ACC7E584-610B-945B-1F49-B7BAE8E06928}"/>
    <pc:docChg chg="modSld">
      <pc:chgData name="Lukas Rau" userId="S::lukas.rau@tum.de::a75e0523-20be-4fb9-acc6-1a36dfa716c4" providerId="AD" clId="Web-{ACC7E584-610B-945B-1F49-B7BAE8E06928}" dt="2025-01-20T12:37:02.631" v="222" actId="20577"/>
      <pc:docMkLst>
        <pc:docMk/>
      </pc:docMkLst>
      <pc:sldChg chg="addSp modSp">
        <pc:chgData name="Lukas Rau" userId="S::lukas.rau@tum.de::a75e0523-20be-4fb9-acc6-1a36dfa716c4" providerId="AD" clId="Web-{ACC7E584-610B-945B-1F49-B7BAE8E06928}" dt="2025-01-20T12:23:28.675" v="50" actId="20577"/>
        <pc:sldMkLst>
          <pc:docMk/>
          <pc:sldMk cId="4224912597" sldId="397"/>
        </pc:sldMkLst>
      </pc:sldChg>
      <pc:sldChg chg="modSp">
        <pc:chgData name="Lukas Rau" userId="S::lukas.rau@tum.de::a75e0523-20be-4fb9-acc6-1a36dfa716c4" providerId="AD" clId="Web-{ACC7E584-610B-945B-1F49-B7BAE8E06928}" dt="2025-01-20T12:37:02.631" v="222" actId="20577"/>
        <pc:sldMkLst>
          <pc:docMk/>
          <pc:sldMk cId="3729310544" sldId="406"/>
        </pc:sldMkLst>
      </pc:sldChg>
      <pc:sldChg chg="modSp">
        <pc:chgData name="Lukas Rau" userId="S::lukas.rau@tum.de::a75e0523-20be-4fb9-acc6-1a36dfa716c4" providerId="AD" clId="Web-{ACC7E584-610B-945B-1F49-B7BAE8E06928}" dt="2025-01-20T12:23:52.255" v="53" actId="20577"/>
        <pc:sldMkLst>
          <pc:docMk/>
          <pc:sldMk cId="1495806589" sldId="446"/>
        </pc:sldMkLst>
      </pc:sldChg>
      <pc:sldChg chg="addSp modSp">
        <pc:chgData name="Lukas Rau" userId="S::lukas.rau@tum.de::a75e0523-20be-4fb9-acc6-1a36dfa716c4" providerId="AD" clId="Web-{ACC7E584-610B-945B-1F49-B7BAE8E06928}" dt="2025-01-20T12:25:41.105" v="60" actId="1076"/>
        <pc:sldMkLst>
          <pc:docMk/>
          <pc:sldMk cId="1011478239" sldId="447"/>
        </pc:sldMkLst>
      </pc:sldChg>
      <pc:sldChg chg="addSp modSp">
        <pc:chgData name="Lukas Rau" userId="S::lukas.rau@tum.de::a75e0523-20be-4fb9-acc6-1a36dfa716c4" providerId="AD" clId="Web-{ACC7E584-610B-945B-1F49-B7BAE8E06928}" dt="2025-01-20T12:30:52.390" v="118" actId="1076"/>
        <pc:sldMkLst>
          <pc:docMk/>
          <pc:sldMk cId="541787147" sldId="450"/>
        </pc:sldMkLst>
      </pc:sldChg>
      <pc:sldChg chg="modSp">
        <pc:chgData name="Lukas Rau" userId="S::lukas.rau@tum.de::a75e0523-20be-4fb9-acc6-1a36dfa716c4" providerId="AD" clId="Web-{ACC7E584-610B-945B-1F49-B7BAE8E06928}" dt="2025-01-20T12:32:55.788" v="165" actId="20577"/>
        <pc:sldMkLst>
          <pc:docMk/>
          <pc:sldMk cId="925422638" sldId="451"/>
        </pc:sldMkLst>
      </pc:sldChg>
      <pc:sldChg chg="addSp delSp modSp">
        <pc:chgData name="Lukas Rau" userId="S::lukas.rau@tum.de::a75e0523-20be-4fb9-acc6-1a36dfa716c4" providerId="AD" clId="Web-{ACC7E584-610B-945B-1F49-B7BAE8E06928}" dt="2025-01-20T12:34:14.871" v="171" actId="14100"/>
        <pc:sldMkLst>
          <pc:docMk/>
          <pc:sldMk cId="2397090823" sldId="452"/>
        </pc:sldMkLst>
      </pc:sldChg>
      <pc:sldChg chg="modSp">
        <pc:chgData name="Lukas Rau" userId="S::lukas.rau@tum.de::a75e0523-20be-4fb9-acc6-1a36dfa716c4" providerId="AD" clId="Web-{ACC7E584-610B-945B-1F49-B7BAE8E06928}" dt="2025-01-20T12:36:34.801" v="220" actId="20577"/>
        <pc:sldMkLst>
          <pc:docMk/>
          <pc:sldMk cId="3806529852" sldId="453"/>
        </pc:sldMkLst>
      </pc:sldChg>
    </pc:docChg>
  </pc:docChgLst>
  <pc:docChgLst>
    <pc:chgData name="Lukas Rau" userId="S::lukas.rau@tum.de::a75e0523-20be-4fb9-acc6-1a36dfa716c4" providerId="AD" clId="Web-{ADF9E9CA-B4EF-10F8-2919-D1A0CB86F0A4}"/>
    <pc:docChg chg="modSld">
      <pc:chgData name="Lukas Rau" userId="S::lukas.rau@tum.de::a75e0523-20be-4fb9-acc6-1a36dfa716c4" providerId="AD" clId="Web-{ADF9E9CA-B4EF-10F8-2919-D1A0CB86F0A4}" dt="2025-01-29T18:26:32.236" v="25" actId="20577"/>
      <pc:docMkLst>
        <pc:docMk/>
      </pc:docMkLst>
      <pc:sldChg chg="modSp">
        <pc:chgData name="Lukas Rau" userId="S::lukas.rau@tum.de::a75e0523-20be-4fb9-acc6-1a36dfa716c4" providerId="AD" clId="Web-{ADF9E9CA-B4EF-10F8-2919-D1A0CB86F0A4}" dt="2025-01-29T18:26:32.236" v="25" actId="20577"/>
        <pc:sldMkLst>
          <pc:docMk/>
          <pc:sldMk cId="3964838248" sldId="478"/>
        </pc:sldMkLst>
      </pc:sldChg>
    </pc:docChg>
  </pc:docChgLst>
  <pc:docChgLst>
    <pc:chgData name="Eva Reißner" userId="S::eva.reissner@tum.de::69eeba62-a39b-4c77-8010-7e75a3ee4230" providerId="AD" clId="Web-{0A729CFF-18D7-D968-0DA7-4D59DBF9138B}"/>
    <pc:docChg chg="modSld">
      <pc:chgData name="Eva Reißner" userId="S::eva.reissner@tum.de::69eeba62-a39b-4c77-8010-7e75a3ee4230" providerId="AD" clId="Web-{0A729CFF-18D7-D968-0DA7-4D59DBF9138B}" dt="2024-07-15T14:49:32.734" v="0" actId="20577"/>
      <pc:docMkLst>
        <pc:docMk/>
      </pc:docMkLst>
      <pc:sldChg chg="modSp">
        <pc:chgData name="Eva Reißner" userId="S::eva.reissner@tum.de::69eeba62-a39b-4c77-8010-7e75a3ee4230" providerId="AD" clId="Web-{0A729CFF-18D7-D968-0DA7-4D59DBF9138B}" dt="2024-07-15T14:49:32.734" v="0" actId="20577"/>
        <pc:sldMkLst>
          <pc:docMk/>
          <pc:sldMk cId="1871282574" sldId="340"/>
        </pc:sldMkLst>
      </pc:sldChg>
    </pc:docChg>
  </pc:docChgLst>
  <pc:docChgLst>
    <pc:chgData name="Bianca Bacci" userId="S::ge72jah@tum.de::83bb2da2-bed4-4ef3-8a15-9eeec0e86db8" providerId="AD" clId="Web-{F1C8789B-5292-431F-9BCB-7DAC0FF1B33A}"/>
    <pc:docChg chg="modSld">
      <pc:chgData name="Bianca Bacci" userId="S::ge72jah@tum.de::83bb2da2-bed4-4ef3-8a15-9eeec0e86db8" providerId="AD" clId="Web-{F1C8789B-5292-431F-9BCB-7DAC0FF1B33A}" dt="2024-06-13T16:14:55.593" v="13" actId="20577"/>
      <pc:docMkLst>
        <pc:docMk/>
      </pc:docMkLst>
      <pc:sldChg chg="modSp">
        <pc:chgData name="Bianca Bacci" userId="S::ge72jah@tum.de::83bb2da2-bed4-4ef3-8a15-9eeec0e86db8" providerId="AD" clId="Web-{F1C8789B-5292-431F-9BCB-7DAC0FF1B33A}" dt="2024-06-13T16:14:55.593" v="13" actId="20577"/>
        <pc:sldMkLst>
          <pc:docMk/>
          <pc:sldMk cId="0" sldId="256"/>
        </pc:sldMkLst>
      </pc:sldChg>
    </pc:docChg>
  </pc:docChgLst>
  <pc:docChgLst>
    <pc:chgData name="Luis Caro Delgado" userId="81c57fa2-c317-4e9d-b555-115c79435d2f" providerId="ADAL" clId="{86F8598A-DD99-465E-8FB0-B1BE35AC6E64}"/>
    <pc:docChg chg="undo redo custSel addSld delSld modSld sldOrd addSection modSection">
      <pc:chgData name="Luis Caro Delgado" userId="81c57fa2-c317-4e9d-b555-115c79435d2f" providerId="ADAL" clId="{86F8598A-DD99-465E-8FB0-B1BE35AC6E64}" dt="2025-02-01T12:10:18.437" v="1572" actId="17846"/>
      <pc:docMkLst>
        <pc:docMk/>
      </pc:docMkLst>
      <pc:sldChg chg="addSp delSp modSp mod">
        <pc:chgData name="Luis Caro Delgado" userId="81c57fa2-c317-4e9d-b555-115c79435d2f" providerId="ADAL" clId="{86F8598A-DD99-465E-8FB0-B1BE35AC6E64}" dt="2025-01-30T17:52:31.294" v="1550" actId="20577"/>
        <pc:sldMkLst>
          <pc:docMk/>
          <pc:sldMk cId="855508414" sldId="301"/>
        </pc:sldMkLst>
      </pc:sldChg>
      <pc:sldChg chg="modSp add mod ord">
        <pc:chgData name="Luis Caro Delgado" userId="81c57fa2-c317-4e9d-b555-115c79435d2f" providerId="ADAL" clId="{86F8598A-DD99-465E-8FB0-B1BE35AC6E64}" dt="2025-01-29T13:17:25.241" v="700"/>
        <pc:sldMkLst>
          <pc:docMk/>
          <pc:sldMk cId="656948936" sldId="307"/>
        </pc:sldMkLst>
      </pc:sldChg>
      <pc:sldChg chg="addSp modSp mod">
        <pc:chgData name="Luis Caro Delgado" userId="81c57fa2-c317-4e9d-b555-115c79435d2f" providerId="ADAL" clId="{86F8598A-DD99-465E-8FB0-B1BE35AC6E64}" dt="2025-01-29T15:15:17.706" v="1018" actId="1076"/>
        <pc:sldMkLst>
          <pc:docMk/>
          <pc:sldMk cId="4118735400" sldId="311"/>
        </pc:sldMkLst>
      </pc:sldChg>
      <pc:sldChg chg="modSp add mod ord">
        <pc:chgData name="Luis Caro Delgado" userId="81c57fa2-c317-4e9d-b555-115c79435d2f" providerId="ADAL" clId="{86F8598A-DD99-465E-8FB0-B1BE35AC6E64}" dt="2025-01-29T13:14:15.768" v="689"/>
        <pc:sldMkLst>
          <pc:docMk/>
          <pc:sldMk cId="1871282574" sldId="340"/>
        </pc:sldMkLst>
      </pc:sldChg>
      <pc:sldChg chg="addSp modSp add mod ord">
        <pc:chgData name="Luis Caro Delgado" userId="81c57fa2-c317-4e9d-b555-115c79435d2f" providerId="ADAL" clId="{86F8598A-DD99-465E-8FB0-B1BE35AC6E64}" dt="2025-01-29T13:16:22.676" v="694"/>
        <pc:sldMkLst>
          <pc:docMk/>
          <pc:sldMk cId="3645510430" sldId="379"/>
        </pc:sldMkLst>
      </pc:sldChg>
      <pc:sldChg chg="ord">
        <pc:chgData name="Luis Caro Delgado" userId="81c57fa2-c317-4e9d-b555-115c79435d2f" providerId="ADAL" clId="{86F8598A-DD99-465E-8FB0-B1BE35AC6E64}" dt="2025-01-31T20:58:42.841" v="1555"/>
        <pc:sldMkLst>
          <pc:docMk/>
          <pc:sldMk cId="2307933946" sldId="383"/>
        </pc:sldMkLst>
      </pc:sldChg>
      <pc:sldChg chg="addSp modSp mod">
        <pc:chgData name="Luis Caro Delgado" userId="81c57fa2-c317-4e9d-b555-115c79435d2f" providerId="ADAL" clId="{86F8598A-DD99-465E-8FB0-B1BE35AC6E64}" dt="2025-01-24T21:28:57.047" v="9"/>
        <pc:sldMkLst>
          <pc:docMk/>
          <pc:sldMk cId="2383461224" sldId="411"/>
        </pc:sldMkLst>
      </pc:sldChg>
      <pc:sldChg chg="delSp modSp mod">
        <pc:chgData name="Luis Caro Delgado" userId="81c57fa2-c317-4e9d-b555-115c79435d2f" providerId="ADAL" clId="{86F8598A-DD99-465E-8FB0-B1BE35AC6E64}" dt="2025-01-28T13:45:59.644" v="88" actId="255"/>
        <pc:sldMkLst>
          <pc:docMk/>
          <pc:sldMk cId="1498560102" sldId="437"/>
        </pc:sldMkLst>
      </pc:sldChg>
      <pc:sldChg chg="modSp mod">
        <pc:chgData name="Luis Caro Delgado" userId="81c57fa2-c317-4e9d-b555-115c79435d2f" providerId="ADAL" clId="{86F8598A-DD99-465E-8FB0-B1BE35AC6E64}" dt="2025-02-01T12:07:22.968" v="1558" actId="20577"/>
        <pc:sldMkLst>
          <pc:docMk/>
          <pc:sldMk cId="958515270" sldId="438"/>
        </pc:sldMkLst>
      </pc:sldChg>
      <pc:sldChg chg="modSp mod">
        <pc:chgData name="Luis Caro Delgado" userId="81c57fa2-c317-4e9d-b555-115c79435d2f" providerId="ADAL" clId="{86F8598A-DD99-465E-8FB0-B1BE35AC6E64}" dt="2025-01-28T13:48:16.230" v="99" actId="2711"/>
        <pc:sldMkLst>
          <pc:docMk/>
          <pc:sldMk cId="1657911828" sldId="439"/>
        </pc:sldMkLst>
      </pc:sldChg>
      <pc:sldChg chg="modSp mod">
        <pc:chgData name="Luis Caro Delgado" userId="81c57fa2-c317-4e9d-b555-115c79435d2f" providerId="ADAL" clId="{86F8598A-DD99-465E-8FB0-B1BE35AC6E64}" dt="2025-01-28T13:48:55.128" v="104" actId="2711"/>
        <pc:sldMkLst>
          <pc:docMk/>
          <pc:sldMk cId="2314472185" sldId="459"/>
        </pc:sldMkLst>
      </pc:sldChg>
      <pc:sldChg chg="modSp mod">
        <pc:chgData name="Luis Caro Delgado" userId="81c57fa2-c317-4e9d-b555-115c79435d2f" providerId="ADAL" clId="{86F8598A-DD99-465E-8FB0-B1BE35AC6E64}" dt="2025-01-28T13:47:32.834" v="97" actId="255"/>
        <pc:sldMkLst>
          <pc:docMk/>
          <pc:sldMk cId="3939354789" sldId="463"/>
        </pc:sldMkLst>
      </pc:sldChg>
      <pc:sldChg chg="modSp mod">
        <pc:chgData name="Luis Caro Delgado" userId="81c57fa2-c317-4e9d-b555-115c79435d2f" providerId="ADAL" clId="{86F8598A-DD99-465E-8FB0-B1BE35AC6E64}" dt="2025-02-01T12:07:33.600" v="1561" actId="20577"/>
        <pc:sldMkLst>
          <pc:docMk/>
          <pc:sldMk cId="2138083522" sldId="468"/>
        </pc:sldMkLst>
      </pc:sldChg>
      <pc:sldChg chg="del">
        <pc:chgData name="Luis Caro Delgado" userId="81c57fa2-c317-4e9d-b555-115c79435d2f" providerId="ADAL" clId="{86F8598A-DD99-465E-8FB0-B1BE35AC6E64}" dt="2025-01-31T20:57:08.247" v="1553" actId="2696"/>
        <pc:sldMkLst>
          <pc:docMk/>
          <pc:sldMk cId="3572124311" sldId="469"/>
        </pc:sldMkLst>
      </pc:sldChg>
      <pc:sldChg chg="addSp delSp modSp mod ord">
        <pc:chgData name="Luis Caro Delgado" userId="81c57fa2-c317-4e9d-b555-115c79435d2f" providerId="ADAL" clId="{86F8598A-DD99-465E-8FB0-B1BE35AC6E64}" dt="2025-01-30T12:24:59.094" v="1139" actId="1582"/>
        <pc:sldMkLst>
          <pc:docMk/>
          <pc:sldMk cId="1813835250" sldId="470"/>
        </pc:sldMkLst>
      </pc:sldChg>
      <pc:sldChg chg="modSp mod">
        <pc:chgData name="Luis Caro Delgado" userId="81c57fa2-c317-4e9d-b555-115c79435d2f" providerId="ADAL" clId="{86F8598A-DD99-465E-8FB0-B1BE35AC6E64}" dt="2025-01-30T17:48:51.230" v="1524" actId="207"/>
        <pc:sldMkLst>
          <pc:docMk/>
          <pc:sldMk cId="3927665919" sldId="471"/>
        </pc:sldMkLst>
      </pc:sldChg>
      <pc:sldChg chg="modSp mod">
        <pc:chgData name="Luis Caro Delgado" userId="81c57fa2-c317-4e9d-b555-115c79435d2f" providerId="ADAL" clId="{86F8598A-DD99-465E-8FB0-B1BE35AC6E64}" dt="2025-01-30T17:30:09.790" v="1418" actId="12"/>
        <pc:sldMkLst>
          <pc:docMk/>
          <pc:sldMk cId="1930544580" sldId="481"/>
        </pc:sldMkLst>
      </pc:sldChg>
      <pc:sldChg chg="modSp mod">
        <pc:chgData name="Luis Caro Delgado" userId="81c57fa2-c317-4e9d-b555-115c79435d2f" providerId="ADAL" clId="{86F8598A-DD99-465E-8FB0-B1BE35AC6E64}" dt="2025-01-31T20:56:21.532" v="1552" actId="12"/>
        <pc:sldMkLst>
          <pc:docMk/>
          <pc:sldMk cId="1638968597" sldId="484"/>
        </pc:sldMkLst>
      </pc:sldChg>
      <pc:sldChg chg="del">
        <pc:chgData name="Luis Caro Delgado" userId="81c57fa2-c317-4e9d-b555-115c79435d2f" providerId="ADAL" clId="{86F8598A-DD99-465E-8FB0-B1BE35AC6E64}" dt="2025-01-31T20:55:58.675" v="1551" actId="2696"/>
        <pc:sldMkLst>
          <pc:docMk/>
          <pc:sldMk cId="163955755" sldId="487"/>
        </pc:sldMkLst>
      </pc:sldChg>
      <pc:sldChg chg="modSp add mod ord">
        <pc:chgData name="Luis Caro Delgado" userId="81c57fa2-c317-4e9d-b555-115c79435d2f" providerId="ADAL" clId="{86F8598A-DD99-465E-8FB0-B1BE35AC6E64}" dt="2025-02-01T12:07:54.611" v="1564" actId="20577"/>
        <pc:sldMkLst>
          <pc:docMk/>
          <pc:sldMk cId="3426481833" sldId="490"/>
        </pc:sldMkLst>
      </pc:sldChg>
      <pc:sldChg chg="add del">
        <pc:chgData name="Luis Caro Delgado" userId="81c57fa2-c317-4e9d-b555-115c79435d2f" providerId="ADAL" clId="{86F8598A-DD99-465E-8FB0-B1BE35AC6E64}" dt="2025-01-28T17:12:01.279" v="219"/>
        <pc:sldMkLst>
          <pc:docMk/>
          <pc:sldMk cId="633328352" sldId="491"/>
        </pc:sldMkLst>
      </pc:sldChg>
      <pc:sldChg chg="modSp add mod ord">
        <pc:chgData name="Luis Caro Delgado" userId="81c57fa2-c317-4e9d-b555-115c79435d2f" providerId="ADAL" clId="{86F8598A-DD99-465E-8FB0-B1BE35AC6E64}" dt="2025-01-30T17:16:56.672" v="1238"/>
        <pc:sldMkLst>
          <pc:docMk/>
          <pc:sldMk cId="2749491118" sldId="491"/>
        </pc:sldMkLst>
      </pc:sldChg>
      <pc:sldChg chg="add del">
        <pc:chgData name="Luis Caro Delgado" userId="81c57fa2-c317-4e9d-b555-115c79435d2f" providerId="ADAL" clId="{86F8598A-DD99-465E-8FB0-B1BE35AC6E64}" dt="2025-01-28T17:12:07.647" v="221"/>
        <pc:sldMkLst>
          <pc:docMk/>
          <pc:sldMk cId="3030057834" sldId="491"/>
        </pc:sldMkLst>
      </pc:sldChg>
      <pc:sldChg chg="modSp add mod">
        <pc:chgData name="Luis Caro Delgado" userId="81c57fa2-c317-4e9d-b555-115c79435d2f" providerId="ADAL" clId="{86F8598A-DD99-465E-8FB0-B1BE35AC6E64}" dt="2025-01-30T17:21:44.949" v="1334" actId="20577"/>
        <pc:sldMkLst>
          <pc:docMk/>
          <pc:sldMk cId="3617604892" sldId="492"/>
        </pc:sldMkLst>
      </pc:sldChg>
    </pc:docChg>
  </pc:docChgLst>
  <pc:docChgLst>
    <pc:chgData name="Lukas Rau" userId="a75e0523-20be-4fb9-acc6-1a36dfa716c4" providerId="ADAL" clId="{9B42299A-83A1-4C94-ACBA-E7A5EA45868F}"/>
    <pc:docChg chg="undo custSel addSld delSld modSld sldOrd addSection modSection">
      <pc:chgData name="Lukas Rau" userId="a75e0523-20be-4fb9-acc6-1a36dfa716c4" providerId="ADAL" clId="{9B42299A-83A1-4C94-ACBA-E7A5EA45868F}" dt="2025-01-28T22:25:21.658" v="30456" actId="1076"/>
      <pc:docMkLst>
        <pc:docMk/>
      </pc:docMkLst>
      <pc:sldChg chg="addSp delSp modSp mod">
        <pc:chgData name="Lukas Rau" userId="a75e0523-20be-4fb9-acc6-1a36dfa716c4" providerId="ADAL" clId="{9B42299A-83A1-4C94-ACBA-E7A5EA45868F}" dt="2024-12-28T12:31:48.955" v="19660" actId="1076"/>
        <pc:sldMkLst>
          <pc:docMk/>
          <pc:sldMk cId="0" sldId="256"/>
        </pc:sldMkLst>
      </pc:sldChg>
      <pc:sldChg chg="addSp delSp modSp mod">
        <pc:chgData name="Lukas Rau" userId="a75e0523-20be-4fb9-acc6-1a36dfa716c4" providerId="ADAL" clId="{9B42299A-83A1-4C94-ACBA-E7A5EA45868F}" dt="2025-01-14T16:11:47.602" v="27678" actId="478"/>
        <pc:sldMkLst>
          <pc:docMk/>
          <pc:sldMk cId="2457093950" sldId="281"/>
        </pc:sldMkLst>
      </pc:sldChg>
      <pc:sldChg chg="del mod modShow">
        <pc:chgData name="Lukas Rau" userId="a75e0523-20be-4fb9-acc6-1a36dfa716c4" providerId="ADAL" clId="{9B42299A-83A1-4C94-ACBA-E7A5EA45868F}" dt="2024-12-14T10:45:52.620" v="14857" actId="2696"/>
        <pc:sldMkLst>
          <pc:docMk/>
          <pc:sldMk cId="1601966315" sldId="285"/>
        </pc:sldMkLst>
      </pc:sldChg>
      <pc:sldChg chg="modSp del mod ord modShow">
        <pc:chgData name="Lukas Rau" userId="a75e0523-20be-4fb9-acc6-1a36dfa716c4" providerId="ADAL" clId="{9B42299A-83A1-4C94-ACBA-E7A5EA45868F}" dt="2025-01-14T15:36:35.298" v="27469" actId="2696"/>
        <pc:sldMkLst>
          <pc:docMk/>
          <pc:sldMk cId="3573279774" sldId="286"/>
        </pc:sldMkLst>
      </pc:sldChg>
      <pc:sldChg chg="addSp delSp modSp del mod">
        <pc:chgData name="Lukas Rau" userId="a75e0523-20be-4fb9-acc6-1a36dfa716c4" providerId="ADAL" clId="{9B42299A-83A1-4C94-ACBA-E7A5EA45868F}" dt="2024-12-17T10:14:05.192" v="17535" actId="2696"/>
        <pc:sldMkLst>
          <pc:docMk/>
          <pc:sldMk cId="1836807439" sldId="290"/>
        </pc:sldMkLst>
      </pc:sldChg>
      <pc:sldChg chg="addSp delSp modSp mod">
        <pc:chgData name="Lukas Rau" userId="a75e0523-20be-4fb9-acc6-1a36dfa716c4" providerId="ADAL" clId="{9B42299A-83A1-4C94-ACBA-E7A5EA45868F}" dt="2025-01-28T22:22:31.842" v="30427" actId="20577"/>
        <pc:sldMkLst>
          <pc:docMk/>
          <pc:sldMk cId="855508414" sldId="301"/>
        </pc:sldMkLst>
      </pc:sldChg>
      <pc:sldChg chg="modSp mod">
        <pc:chgData name="Lukas Rau" userId="a75e0523-20be-4fb9-acc6-1a36dfa716c4" providerId="ADAL" clId="{9B42299A-83A1-4C94-ACBA-E7A5EA45868F}" dt="2024-12-28T12:08:33.912" v="19441" actId="948"/>
        <pc:sldMkLst>
          <pc:docMk/>
          <pc:sldMk cId="1608053785" sldId="303"/>
        </pc:sldMkLst>
      </pc:sldChg>
      <pc:sldChg chg="addSp modSp mod">
        <pc:chgData name="Lukas Rau" userId="a75e0523-20be-4fb9-acc6-1a36dfa716c4" providerId="ADAL" clId="{9B42299A-83A1-4C94-ACBA-E7A5EA45868F}" dt="2025-01-26T14:23:59.580" v="29896" actId="6549"/>
        <pc:sldMkLst>
          <pc:docMk/>
          <pc:sldMk cId="4118735400" sldId="311"/>
        </pc:sldMkLst>
      </pc:sldChg>
      <pc:sldChg chg="delSp modSp mod">
        <pc:chgData name="Lukas Rau" userId="a75e0523-20be-4fb9-acc6-1a36dfa716c4" providerId="ADAL" clId="{9B42299A-83A1-4C94-ACBA-E7A5EA45868F}" dt="2025-01-20T20:21:52.916" v="29452" actId="255"/>
        <pc:sldMkLst>
          <pc:docMk/>
          <pc:sldMk cId="3420601596" sldId="315"/>
        </pc:sldMkLst>
      </pc:sldChg>
      <pc:sldChg chg="addSp delSp modSp mod">
        <pc:chgData name="Lukas Rau" userId="a75e0523-20be-4fb9-acc6-1a36dfa716c4" providerId="ADAL" clId="{9B42299A-83A1-4C94-ACBA-E7A5EA45868F}" dt="2024-12-28T12:17:08.117" v="19483" actId="478"/>
        <pc:sldMkLst>
          <pc:docMk/>
          <pc:sldMk cId="2974701433" sldId="336"/>
        </pc:sldMkLst>
      </pc:sldChg>
      <pc:sldChg chg="addSp delSp modSp mod">
        <pc:chgData name="Lukas Rau" userId="a75e0523-20be-4fb9-acc6-1a36dfa716c4" providerId="ADAL" clId="{9B42299A-83A1-4C94-ACBA-E7A5EA45868F}" dt="2025-01-14T15:56:39.780" v="27507" actId="20577"/>
        <pc:sldMkLst>
          <pc:docMk/>
          <pc:sldMk cId="1183542163" sldId="339"/>
        </pc:sldMkLst>
      </pc:sldChg>
      <pc:sldChg chg="addSp delSp modSp del mod modShow">
        <pc:chgData name="Lukas Rau" userId="a75e0523-20be-4fb9-acc6-1a36dfa716c4" providerId="ADAL" clId="{9B42299A-83A1-4C94-ACBA-E7A5EA45868F}" dt="2024-12-06T10:58:45.269" v="4486" actId="2696"/>
        <pc:sldMkLst>
          <pc:docMk/>
          <pc:sldMk cId="4061445094" sldId="370"/>
        </pc:sldMkLst>
      </pc:sldChg>
      <pc:sldChg chg="ord">
        <pc:chgData name="Lukas Rau" userId="a75e0523-20be-4fb9-acc6-1a36dfa716c4" providerId="ADAL" clId="{9B42299A-83A1-4C94-ACBA-E7A5EA45868F}" dt="2025-01-14T16:27:38.566" v="27811"/>
        <pc:sldMkLst>
          <pc:docMk/>
          <pc:sldMk cId="2307933946" sldId="383"/>
        </pc:sldMkLst>
      </pc:sldChg>
      <pc:sldChg chg="modSp mod">
        <pc:chgData name="Lukas Rau" userId="a75e0523-20be-4fb9-acc6-1a36dfa716c4" providerId="ADAL" clId="{9B42299A-83A1-4C94-ACBA-E7A5EA45868F}" dt="2024-12-28T12:08:41.074" v="19442" actId="948"/>
        <pc:sldMkLst>
          <pc:docMk/>
          <pc:sldMk cId="2984851244" sldId="385"/>
        </pc:sldMkLst>
      </pc:sldChg>
      <pc:sldChg chg="modSp mod">
        <pc:chgData name="Lukas Rau" userId="a75e0523-20be-4fb9-acc6-1a36dfa716c4" providerId="ADAL" clId="{9B42299A-83A1-4C94-ACBA-E7A5EA45868F}" dt="2025-01-14T15:56:53.255" v="27509" actId="313"/>
        <pc:sldMkLst>
          <pc:docMk/>
          <pc:sldMk cId="1409559676" sldId="386"/>
        </pc:sldMkLst>
      </pc:sldChg>
      <pc:sldChg chg="addSp delSp modSp del mod ord modShow">
        <pc:chgData name="Lukas Rau" userId="a75e0523-20be-4fb9-acc6-1a36dfa716c4" providerId="ADAL" clId="{9B42299A-83A1-4C94-ACBA-E7A5EA45868F}" dt="2025-01-14T15:36:35.298" v="27469" actId="2696"/>
        <pc:sldMkLst>
          <pc:docMk/>
          <pc:sldMk cId="2079672465" sldId="387"/>
        </pc:sldMkLst>
      </pc:sldChg>
      <pc:sldChg chg="del mod ord modShow">
        <pc:chgData name="Lukas Rau" userId="a75e0523-20be-4fb9-acc6-1a36dfa716c4" providerId="ADAL" clId="{9B42299A-83A1-4C94-ACBA-E7A5EA45868F}" dt="2025-01-14T15:36:35.298" v="27469" actId="2696"/>
        <pc:sldMkLst>
          <pc:docMk/>
          <pc:sldMk cId="3497998176" sldId="388"/>
        </pc:sldMkLst>
      </pc:sldChg>
      <pc:sldChg chg="del">
        <pc:chgData name="Lukas Rau" userId="a75e0523-20be-4fb9-acc6-1a36dfa716c4" providerId="ADAL" clId="{9B42299A-83A1-4C94-ACBA-E7A5EA45868F}" dt="2024-12-09T14:21:28.585" v="6487" actId="2696"/>
        <pc:sldMkLst>
          <pc:docMk/>
          <pc:sldMk cId="3644613430" sldId="389"/>
        </pc:sldMkLst>
      </pc:sldChg>
      <pc:sldChg chg="del">
        <pc:chgData name="Lukas Rau" userId="a75e0523-20be-4fb9-acc6-1a36dfa716c4" providerId="ADAL" clId="{9B42299A-83A1-4C94-ACBA-E7A5EA45868F}" dt="2024-12-09T14:21:30.565" v="6488" actId="2696"/>
        <pc:sldMkLst>
          <pc:docMk/>
          <pc:sldMk cId="2309001249" sldId="390"/>
        </pc:sldMkLst>
      </pc:sldChg>
      <pc:sldChg chg="del">
        <pc:chgData name="Lukas Rau" userId="a75e0523-20be-4fb9-acc6-1a36dfa716c4" providerId="ADAL" clId="{9B42299A-83A1-4C94-ACBA-E7A5EA45868F}" dt="2024-12-09T14:42:13.109" v="6490" actId="2696"/>
        <pc:sldMkLst>
          <pc:docMk/>
          <pc:sldMk cId="941397807" sldId="391"/>
        </pc:sldMkLst>
      </pc:sldChg>
      <pc:sldChg chg="delSp modSp del mod">
        <pc:chgData name="Lukas Rau" userId="a75e0523-20be-4fb9-acc6-1a36dfa716c4" providerId="ADAL" clId="{9B42299A-83A1-4C94-ACBA-E7A5EA45868F}" dt="2024-12-09T15:39:29.647" v="7678" actId="2696"/>
        <pc:sldMkLst>
          <pc:docMk/>
          <pc:sldMk cId="2094346554" sldId="392"/>
        </pc:sldMkLst>
      </pc:sldChg>
      <pc:sldChg chg="del">
        <pc:chgData name="Lukas Rau" userId="a75e0523-20be-4fb9-acc6-1a36dfa716c4" providerId="ADAL" clId="{9B42299A-83A1-4C94-ACBA-E7A5EA45868F}" dt="2024-12-09T15:39:35.215" v="7679" actId="2696"/>
        <pc:sldMkLst>
          <pc:docMk/>
          <pc:sldMk cId="3356948816" sldId="393"/>
        </pc:sldMkLst>
      </pc:sldChg>
      <pc:sldChg chg="del">
        <pc:chgData name="Lukas Rau" userId="a75e0523-20be-4fb9-acc6-1a36dfa716c4" providerId="ADAL" clId="{9B42299A-83A1-4C94-ACBA-E7A5EA45868F}" dt="2024-12-09T15:39:37.602" v="7680" actId="2696"/>
        <pc:sldMkLst>
          <pc:docMk/>
          <pc:sldMk cId="3617146395" sldId="394"/>
        </pc:sldMkLst>
      </pc:sldChg>
      <pc:sldChg chg="modSp del mod">
        <pc:chgData name="Lukas Rau" userId="a75e0523-20be-4fb9-acc6-1a36dfa716c4" providerId="ADAL" clId="{9B42299A-83A1-4C94-ACBA-E7A5EA45868F}" dt="2024-12-12T15:30:00.073" v="9993" actId="2696"/>
        <pc:sldMkLst>
          <pc:docMk/>
          <pc:sldMk cId="729264360" sldId="395"/>
        </pc:sldMkLst>
      </pc:sldChg>
      <pc:sldChg chg="addSp delSp modSp mod">
        <pc:chgData name="Lukas Rau" userId="a75e0523-20be-4fb9-acc6-1a36dfa716c4" providerId="ADAL" clId="{9B42299A-83A1-4C94-ACBA-E7A5EA45868F}" dt="2025-01-15T19:33:25.747" v="28604" actId="1076"/>
        <pc:sldMkLst>
          <pc:docMk/>
          <pc:sldMk cId="4224912597" sldId="397"/>
        </pc:sldMkLst>
      </pc:sldChg>
      <pc:sldChg chg="addSp delSp modSp mod">
        <pc:chgData name="Lukas Rau" userId="a75e0523-20be-4fb9-acc6-1a36dfa716c4" providerId="ADAL" clId="{9B42299A-83A1-4C94-ACBA-E7A5EA45868F}" dt="2025-01-20T20:29:21.523" v="29498" actId="1076"/>
        <pc:sldMkLst>
          <pc:docMk/>
          <pc:sldMk cId="3795676206" sldId="398"/>
        </pc:sldMkLst>
      </pc:sldChg>
      <pc:sldChg chg="addSp delSp modSp mod ord">
        <pc:chgData name="Lukas Rau" userId="a75e0523-20be-4fb9-acc6-1a36dfa716c4" providerId="ADAL" clId="{9B42299A-83A1-4C94-ACBA-E7A5EA45868F}" dt="2025-01-22T20:01:04.733" v="29601" actId="255"/>
        <pc:sldMkLst>
          <pc:docMk/>
          <pc:sldMk cId="4004313946" sldId="399"/>
        </pc:sldMkLst>
      </pc:sldChg>
      <pc:sldChg chg="addSp modSp mod">
        <pc:chgData name="Lukas Rau" userId="a75e0523-20be-4fb9-acc6-1a36dfa716c4" providerId="ADAL" clId="{9B42299A-83A1-4C94-ACBA-E7A5EA45868F}" dt="2024-12-28T14:07:27.072" v="20762" actId="20577"/>
        <pc:sldMkLst>
          <pc:docMk/>
          <pc:sldMk cId="2119002428" sldId="401"/>
        </pc:sldMkLst>
      </pc:sldChg>
      <pc:sldChg chg="delSp modSp del mod">
        <pc:chgData name="Lukas Rau" userId="a75e0523-20be-4fb9-acc6-1a36dfa716c4" providerId="ADAL" clId="{9B42299A-83A1-4C94-ACBA-E7A5EA45868F}" dt="2024-12-14T11:05:00.032" v="15853" actId="2696"/>
        <pc:sldMkLst>
          <pc:docMk/>
          <pc:sldMk cId="3322863499" sldId="402"/>
        </pc:sldMkLst>
      </pc:sldChg>
      <pc:sldChg chg="mod modShow">
        <pc:chgData name="Lukas Rau" userId="a75e0523-20be-4fb9-acc6-1a36dfa716c4" providerId="ADAL" clId="{9B42299A-83A1-4C94-ACBA-E7A5EA45868F}" dt="2024-12-28T14:16:32.070" v="20932" actId="729"/>
        <pc:sldMkLst>
          <pc:docMk/>
          <pc:sldMk cId="1332489482" sldId="403"/>
        </pc:sldMkLst>
      </pc:sldChg>
      <pc:sldChg chg="addSp delSp modSp mod">
        <pc:chgData name="Lukas Rau" userId="a75e0523-20be-4fb9-acc6-1a36dfa716c4" providerId="ADAL" clId="{9B42299A-83A1-4C94-ACBA-E7A5EA45868F}" dt="2025-01-20T18:42:16.381" v="29279" actId="20577"/>
        <pc:sldMkLst>
          <pc:docMk/>
          <pc:sldMk cId="3670737395" sldId="404"/>
        </pc:sldMkLst>
      </pc:sldChg>
      <pc:sldChg chg="del">
        <pc:chgData name="Lukas Rau" userId="a75e0523-20be-4fb9-acc6-1a36dfa716c4" providerId="ADAL" clId="{9B42299A-83A1-4C94-ACBA-E7A5EA45868F}" dt="2024-12-09T14:42:03.161" v="6489" actId="2696"/>
        <pc:sldMkLst>
          <pc:docMk/>
          <pc:sldMk cId="394889806" sldId="405"/>
        </pc:sldMkLst>
      </pc:sldChg>
      <pc:sldChg chg="addSp delSp modSp mod">
        <pc:chgData name="Lukas Rau" userId="a75e0523-20be-4fb9-acc6-1a36dfa716c4" providerId="ADAL" clId="{9B42299A-83A1-4C94-ACBA-E7A5EA45868F}" dt="2025-01-28T22:14:13.109" v="30335" actId="14100"/>
        <pc:sldMkLst>
          <pc:docMk/>
          <pc:sldMk cId="3729310544" sldId="406"/>
        </pc:sldMkLst>
      </pc:sldChg>
      <pc:sldChg chg="addSp modSp mod">
        <pc:chgData name="Lukas Rau" userId="a75e0523-20be-4fb9-acc6-1a36dfa716c4" providerId="ADAL" clId="{9B42299A-83A1-4C94-ACBA-E7A5EA45868F}" dt="2025-01-20T20:30:16.166" v="29506" actId="20577"/>
        <pc:sldMkLst>
          <pc:docMk/>
          <pc:sldMk cId="71582575" sldId="407"/>
        </pc:sldMkLst>
      </pc:sldChg>
      <pc:sldChg chg="addSp delSp modSp mod">
        <pc:chgData name="Lukas Rau" userId="a75e0523-20be-4fb9-acc6-1a36dfa716c4" providerId="ADAL" clId="{9B42299A-83A1-4C94-ACBA-E7A5EA45868F}" dt="2025-01-28T22:14:46.505" v="30341" actId="1076"/>
        <pc:sldMkLst>
          <pc:docMk/>
          <pc:sldMk cId="515090417" sldId="409"/>
        </pc:sldMkLst>
      </pc:sldChg>
      <pc:sldChg chg="addSp delSp modSp del mod">
        <pc:chgData name="Lukas Rau" userId="a75e0523-20be-4fb9-acc6-1a36dfa716c4" providerId="ADAL" clId="{9B42299A-83A1-4C94-ACBA-E7A5EA45868F}" dt="2024-12-14T11:19:35.263" v="16379" actId="2696"/>
        <pc:sldMkLst>
          <pc:docMk/>
          <pc:sldMk cId="3070893580" sldId="412"/>
        </pc:sldMkLst>
      </pc:sldChg>
      <pc:sldChg chg="addSp delSp modSp mod ord modShow">
        <pc:chgData name="Lukas Rau" userId="a75e0523-20be-4fb9-acc6-1a36dfa716c4" providerId="ADAL" clId="{9B42299A-83A1-4C94-ACBA-E7A5EA45868F}" dt="2025-01-20T20:32:03.924" v="29531" actId="729"/>
        <pc:sldMkLst>
          <pc:docMk/>
          <pc:sldMk cId="2642767501" sldId="413"/>
        </pc:sldMkLst>
      </pc:sldChg>
      <pc:sldChg chg="delSp add del mod">
        <pc:chgData name="Lukas Rau" userId="a75e0523-20be-4fb9-acc6-1a36dfa716c4" providerId="ADAL" clId="{9B42299A-83A1-4C94-ACBA-E7A5EA45868F}" dt="2024-12-28T12:53:49.144" v="19901" actId="2696"/>
        <pc:sldMkLst>
          <pc:docMk/>
          <pc:sldMk cId="3390966927" sldId="414"/>
        </pc:sldMkLst>
      </pc:sldChg>
      <pc:sldChg chg="modSp del mod">
        <pc:chgData name="Lukas Rau" userId="a75e0523-20be-4fb9-acc6-1a36dfa716c4" providerId="ADAL" clId="{9B42299A-83A1-4C94-ACBA-E7A5EA45868F}" dt="2024-12-17T09:59:19.057" v="17366" actId="2696"/>
        <pc:sldMkLst>
          <pc:docMk/>
          <pc:sldMk cId="3920604443" sldId="414"/>
        </pc:sldMkLst>
      </pc:sldChg>
      <pc:sldChg chg="modSp mod">
        <pc:chgData name="Lukas Rau" userId="a75e0523-20be-4fb9-acc6-1a36dfa716c4" providerId="ADAL" clId="{9B42299A-83A1-4C94-ACBA-E7A5EA45868F}" dt="2025-01-20T20:33:34.615" v="29551" actId="255"/>
        <pc:sldMkLst>
          <pc:docMk/>
          <pc:sldMk cId="2222115458" sldId="415"/>
        </pc:sldMkLst>
      </pc:sldChg>
      <pc:sldChg chg="delSp modSp del mod">
        <pc:chgData name="Lukas Rau" userId="a75e0523-20be-4fb9-acc6-1a36dfa716c4" providerId="ADAL" clId="{9B42299A-83A1-4C94-ACBA-E7A5EA45868F}" dt="2024-12-17T10:16:59.012" v="17587" actId="2696"/>
        <pc:sldMkLst>
          <pc:docMk/>
          <pc:sldMk cId="2962154031" sldId="416"/>
        </pc:sldMkLst>
      </pc:sldChg>
      <pc:sldChg chg="addSp delSp modSp del mod">
        <pc:chgData name="Lukas Rau" userId="a75e0523-20be-4fb9-acc6-1a36dfa716c4" providerId="ADAL" clId="{9B42299A-83A1-4C94-ACBA-E7A5EA45868F}" dt="2025-01-20T19:01:01.854" v="29413" actId="2696"/>
        <pc:sldMkLst>
          <pc:docMk/>
          <pc:sldMk cId="1174880530" sldId="417"/>
        </pc:sldMkLst>
      </pc:sldChg>
      <pc:sldChg chg="delSp modSp del mod">
        <pc:chgData name="Lukas Rau" userId="a75e0523-20be-4fb9-acc6-1a36dfa716c4" providerId="ADAL" clId="{9B42299A-83A1-4C94-ACBA-E7A5EA45868F}" dt="2024-12-17T10:22:51.655" v="18085" actId="2696"/>
        <pc:sldMkLst>
          <pc:docMk/>
          <pc:sldMk cId="1895860218" sldId="418"/>
        </pc:sldMkLst>
      </pc:sldChg>
      <pc:sldChg chg="addSp delSp modSp add del mod ord">
        <pc:chgData name="Lukas Rau" userId="a75e0523-20be-4fb9-acc6-1a36dfa716c4" providerId="ADAL" clId="{9B42299A-83A1-4C94-ACBA-E7A5EA45868F}" dt="2024-12-08T13:48:19.661" v="4927" actId="2696"/>
        <pc:sldMkLst>
          <pc:docMk/>
          <pc:sldMk cId="1404935229" sldId="419"/>
        </pc:sldMkLst>
      </pc:sldChg>
      <pc:sldChg chg="addSp delSp modSp add mod ord modShow">
        <pc:chgData name="Lukas Rau" userId="a75e0523-20be-4fb9-acc6-1a36dfa716c4" providerId="ADAL" clId="{9B42299A-83A1-4C94-ACBA-E7A5EA45868F}" dt="2025-01-20T20:20:05.495" v="29450" actId="20577"/>
        <pc:sldMkLst>
          <pc:docMk/>
          <pc:sldMk cId="1390558626" sldId="420"/>
        </pc:sldMkLst>
      </pc:sldChg>
      <pc:sldChg chg="add del">
        <pc:chgData name="Lukas Rau" userId="a75e0523-20be-4fb9-acc6-1a36dfa716c4" providerId="ADAL" clId="{9B42299A-83A1-4C94-ACBA-E7A5EA45868F}" dt="2024-12-06T09:50:58.082" v="1461" actId="2890"/>
        <pc:sldMkLst>
          <pc:docMk/>
          <pc:sldMk cId="3959840552" sldId="420"/>
        </pc:sldMkLst>
      </pc:sldChg>
      <pc:sldChg chg="addSp delSp modSp add mod ord modShow">
        <pc:chgData name="Lukas Rau" userId="a75e0523-20be-4fb9-acc6-1a36dfa716c4" providerId="ADAL" clId="{9B42299A-83A1-4C94-ACBA-E7A5EA45868F}" dt="2025-01-14T16:15:08.781" v="27690" actId="255"/>
        <pc:sldMkLst>
          <pc:docMk/>
          <pc:sldMk cId="2670221359" sldId="421"/>
        </pc:sldMkLst>
      </pc:sldChg>
      <pc:sldChg chg="add del replId">
        <pc:chgData name="Lukas Rau" userId="a75e0523-20be-4fb9-acc6-1a36dfa716c4" providerId="ADAL" clId="{9B42299A-83A1-4C94-ACBA-E7A5EA45868F}" dt="2024-12-06T09:50:58.082" v="1461" actId="2890"/>
        <pc:sldMkLst>
          <pc:docMk/>
          <pc:sldMk cId="3760008297" sldId="421"/>
        </pc:sldMkLst>
      </pc:sldChg>
      <pc:sldChg chg="add del replId">
        <pc:chgData name="Lukas Rau" userId="a75e0523-20be-4fb9-acc6-1a36dfa716c4" providerId="ADAL" clId="{9B42299A-83A1-4C94-ACBA-E7A5EA45868F}" dt="2024-12-06T09:50:58.082" v="1461" actId="2890"/>
        <pc:sldMkLst>
          <pc:docMk/>
          <pc:sldMk cId="1035142003" sldId="422"/>
        </pc:sldMkLst>
      </pc:sldChg>
      <pc:sldChg chg="addSp delSp modSp add mod">
        <pc:chgData name="Lukas Rau" userId="a75e0523-20be-4fb9-acc6-1a36dfa716c4" providerId="ADAL" clId="{9B42299A-83A1-4C94-ACBA-E7A5EA45868F}" dt="2024-12-06T10:31:19.531" v="3174" actId="164"/>
        <pc:sldMkLst>
          <pc:docMk/>
          <pc:sldMk cId="3908967000" sldId="422"/>
        </pc:sldMkLst>
      </pc:sldChg>
      <pc:sldChg chg="addSp delSp modSp add mod">
        <pc:chgData name="Lukas Rau" userId="a75e0523-20be-4fb9-acc6-1a36dfa716c4" providerId="ADAL" clId="{9B42299A-83A1-4C94-ACBA-E7A5EA45868F}" dt="2025-01-28T22:19:28.163" v="30369" actId="170"/>
        <pc:sldMkLst>
          <pc:docMk/>
          <pc:sldMk cId="2799037114" sldId="423"/>
        </pc:sldMkLst>
      </pc:sldChg>
      <pc:sldChg chg="add del replId">
        <pc:chgData name="Lukas Rau" userId="a75e0523-20be-4fb9-acc6-1a36dfa716c4" providerId="ADAL" clId="{9B42299A-83A1-4C94-ACBA-E7A5EA45868F}" dt="2024-12-06T09:50:58.082" v="1461" actId="2890"/>
        <pc:sldMkLst>
          <pc:docMk/>
          <pc:sldMk cId="3226689526" sldId="423"/>
        </pc:sldMkLst>
      </pc:sldChg>
      <pc:sldChg chg="addSp delSp modSp add del mod ord modShow">
        <pc:chgData name="Lukas Rau" userId="a75e0523-20be-4fb9-acc6-1a36dfa716c4" providerId="ADAL" clId="{9B42299A-83A1-4C94-ACBA-E7A5EA45868F}" dt="2024-12-08T13:48:16.634" v="4926" actId="2696"/>
        <pc:sldMkLst>
          <pc:docMk/>
          <pc:sldMk cId="2305465409" sldId="424"/>
        </pc:sldMkLst>
      </pc:sldChg>
      <pc:sldChg chg="addSp delSp modSp add del mod">
        <pc:chgData name="Lukas Rau" userId="a75e0523-20be-4fb9-acc6-1a36dfa716c4" providerId="ADAL" clId="{9B42299A-83A1-4C94-ACBA-E7A5EA45868F}" dt="2024-12-08T13:47:23.826" v="4914" actId="2890"/>
        <pc:sldMkLst>
          <pc:docMk/>
          <pc:sldMk cId="161260064" sldId="425"/>
        </pc:sldMkLst>
      </pc:sldChg>
      <pc:sldChg chg="addSp delSp modSp add mod ord">
        <pc:chgData name="Lukas Rau" userId="a75e0523-20be-4fb9-acc6-1a36dfa716c4" providerId="ADAL" clId="{9B42299A-83A1-4C94-ACBA-E7A5EA45868F}" dt="2025-01-20T20:21:35.325" v="29451" actId="12"/>
        <pc:sldMkLst>
          <pc:docMk/>
          <pc:sldMk cId="2561607360" sldId="425"/>
        </pc:sldMkLst>
      </pc:sldChg>
      <pc:sldChg chg="modSp add mod ord modShow">
        <pc:chgData name="Lukas Rau" userId="a75e0523-20be-4fb9-acc6-1a36dfa716c4" providerId="ADAL" clId="{9B42299A-83A1-4C94-ACBA-E7A5EA45868F}" dt="2025-01-28T22:18:45.091" v="30367" actId="1076"/>
        <pc:sldMkLst>
          <pc:docMk/>
          <pc:sldMk cId="737680729" sldId="426"/>
        </pc:sldMkLst>
      </pc:sldChg>
      <pc:sldChg chg="add del mod ord modShow">
        <pc:chgData name="Lukas Rau" userId="a75e0523-20be-4fb9-acc6-1a36dfa716c4" providerId="ADAL" clId="{9B42299A-83A1-4C94-ACBA-E7A5EA45868F}" dt="2025-01-14T15:36:35.298" v="27469" actId="2696"/>
        <pc:sldMkLst>
          <pc:docMk/>
          <pc:sldMk cId="1080006632" sldId="427"/>
        </pc:sldMkLst>
      </pc:sldChg>
      <pc:sldChg chg="addSp delSp modSp add mod modNotesTx">
        <pc:chgData name="Lukas Rau" userId="a75e0523-20be-4fb9-acc6-1a36dfa716c4" providerId="ADAL" clId="{9B42299A-83A1-4C94-ACBA-E7A5EA45868F}" dt="2025-01-28T22:23:54.304" v="30435" actId="1076"/>
        <pc:sldMkLst>
          <pc:docMk/>
          <pc:sldMk cId="2202070614" sldId="428"/>
        </pc:sldMkLst>
      </pc:sldChg>
      <pc:sldChg chg="addSp delSp modSp add mod">
        <pc:chgData name="Lukas Rau" userId="a75e0523-20be-4fb9-acc6-1a36dfa716c4" providerId="ADAL" clId="{9B42299A-83A1-4C94-ACBA-E7A5EA45868F}" dt="2025-01-28T22:24:35.508" v="30449" actId="1076"/>
        <pc:sldMkLst>
          <pc:docMk/>
          <pc:sldMk cId="2174013086" sldId="429"/>
        </pc:sldMkLst>
      </pc:sldChg>
      <pc:sldChg chg="addSp modSp add mod">
        <pc:chgData name="Lukas Rau" userId="a75e0523-20be-4fb9-acc6-1a36dfa716c4" providerId="ADAL" clId="{9B42299A-83A1-4C94-ACBA-E7A5EA45868F}" dt="2025-01-28T22:25:21.658" v="30456" actId="1076"/>
        <pc:sldMkLst>
          <pc:docMk/>
          <pc:sldMk cId="3660786385" sldId="430"/>
        </pc:sldMkLst>
      </pc:sldChg>
      <pc:sldChg chg="addSp delSp modSp add mod">
        <pc:chgData name="Lukas Rau" userId="a75e0523-20be-4fb9-acc6-1a36dfa716c4" providerId="ADAL" clId="{9B42299A-83A1-4C94-ACBA-E7A5EA45868F}" dt="2025-01-20T18:00:53.159" v="29044" actId="14100"/>
        <pc:sldMkLst>
          <pc:docMk/>
          <pc:sldMk cId="3455161716" sldId="431"/>
        </pc:sldMkLst>
      </pc:sldChg>
      <pc:sldChg chg="addSp delSp modSp add mod ord modShow">
        <pc:chgData name="Lukas Rau" userId="a75e0523-20be-4fb9-acc6-1a36dfa716c4" providerId="ADAL" clId="{9B42299A-83A1-4C94-ACBA-E7A5EA45868F}" dt="2025-01-28T22:16:20.217" v="30351" actId="1076"/>
        <pc:sldMkLst>
          <pc:docMk/>
          <pc:sldMk cId="1222796130" sldId="432"/>
        </pc:sldMkLst>
      </pc:sldChg>
      <pc:sldChg chg="addSp delSp modSp add del mod">
        <pc:chgData name="Lukas Rau" userId="a75e0523-20be-4fb9-acc6-1a36dfa716c4" providerId="ADAL" clId="{9B42299A-83A1-4C94-ACBA-E7A5EA45868F}" dt="2024-12-09T15:44:10.945" v="7752" actId="2696"/>
        <pc:sldMkLst>
          <pc:docMk/>
          <pc:sldMk cId="903487705" sldId="433"/>
        </pc:sldMkLst>
      </pc:sldChg>
      <pc:sldChg chg="addSp delSp modSp add mod ord">
        <pc:chgData name="Lukas Rau" userId="a75e0523-20be-4fb9-acc6-1a36dfa716c4" providerId="ADAL" clId="{9B42299A-83A1-4C94-ACBA-E7A5EA45868F}" dt="2025-01-28T22:16:42.370" v="30356" actId="1076"/>
        <pc:sldMkLst>
          <pc:docMk/>
          <pc:sldMk cId="2019023612" sldId="434"/>
        </pc:sldMkLst>
      </pc:sldChg>
      <pc:sldChg chg="addSp delSp modSp add mod ord">
        <pc:chgData name="Lukas Rau" userId="a75e0523-20be-4fb9-acc6-1a36dfa716c4" providerId="ADAL" clId="{9B42299A-83A1-4C94-ACBA-E7A5EA45868F}" dt="2025-01-14T16:28:12.137" v="27818" actId="255"/>
        <pc:sldMkLst>
          <pc:docMk/>
          <pc:sldMk cId="3459908272" sldId="435"/>
        </pc:sldMkLst>
      </pc:sldChg>
      <pc:sldChg chg="addSp delSp modSp add mod ord">
        <pc:chgData name="Lukas Rau" userId="a75e0523-20be-4fb9-acc6-1a36dfa716c4" providerId="ADAL" clId="{9B42299A-83A1-4C94-ACBA-E7A5EA45868F}" dt="2025-01-22T19:59:13.192" v="29588" actId="255"/>
        <pc:sldMkLst>
          <pc:docMk/>
          <pc:sldMk cId="3409542249" sldId="436"/>
        </pc:sldMkLst>
      </pc:sldChg>
      <pc:sldChg chg="addSp delSp modSp add mod">
        <pc:chgData name="Lukas Rau" userId="a75e0523-20be-4fb9-acc6-1a36dfa716c4" providerId="ADAL" clId="{9B42299A-83A1-4C94-ACBA-E7A5EA45868F}" dt="2025-01-20T20:23:02.196" v="29464" actId="20577"/>
        <pc:sldMkLst>
          <pc:docMk/>
          <pc:sldMk cId="2767352284" sldId="440"/>
        </pc:sldMkLst>
      </pc:sldChg>
      <pc:sldChg chg="addSp delSp modSp add mod ord">
        <pc:chgData name="Lukas Rau" userId="a75e0523-20be-4fb9-acc6-1a36dfa716c4" providerId="ADAL" clId="{9B42299A-83A1-4C94-ACBA-E7A5EA45868F}" dt="2025-01-28T22:17:25.498" v="30362" actId="1076"/>
        <pc:sldMkLst>
          <pc:docMk/>
          <pc:sldMk cId="1430487288" sldId="441"/>
        </pc:sldMkLst>
      </pc:sldChg>
      <pc:sldChg chg="addSp delSp modSp add mod ord">
        <pc:chgData name="Lukas Rau" userId="a75e0523-20be-4fb9-acc6-1a36dfa716c4" providerId="ADAL" clId="{9B42299A-83A1-4C94-ACBA-E7A5EA45868F}" dt="2025-01-22T19:59:35.448" v="29593" actId="255"/>
        <pc:sldMkLst>
          <pc:docMk/>
          <pc:sldMk cId="451900156" sldId="442"/>
        </pc:sldMkLst>
      </pc:sldChg>
      <pc:sldChg chg="addSp delSp modSp add mod">
        <pc:chgData name="Lukas Rau" userId="a75e0523-20be-4fb9-acc6-1a36dfa716c4" providerId="ADAL" clId="{9B42299A-83A1-4C94-ACBA-E7A5EA45868F}" dt="2025-01-20T20:23:16.845" v="29474" actId="20577"/>
        <pc:sldMkLst>
          <pc:docMk/>
          <pc:sldMk cId="2003200674" sldId="443"/>
        </pc:sldMkLst>
      </pc:sldChg>
      <pc:sldChg chg="modSp add del mod ord">
        <pc:chgData name="Lukas Rau" userId="a75e0523-20be-4fb9-acc6-1a36dfa716c4" providerId="ADAL" clId="{9B42299A-83A1-4C94-ACBA-E7A5EA45868F}" dt="2024-12-12T15:29:13.468" v="9944" actId="2696"/>
        <pc:sldMkLst>
          <pc:docMk/>
          <pc:sldMk cId="1844983138" sldId="444"/>
        </pc:sldMkLst>
      </pc:sldChg>
      <pc:sldChg chg="addSp delSp modSp add mod ord">
        <pc:chgData name="Lukas Rau" userId="a75e0523-20be-4fb9-acc6-1a36dfa716c4" providerId="ADAL" clId="{9B42299A-83A1-4C94-ACBA-E7A5EA45868F}" dt="2025-01-20T20:23:31.375" v="29475" actId="2711"/>
        <pc:sldMkLst>
          <pc:docMk/>
          <pc:sldMk cId="4050617437" sldId="445"/>
        </pc:sldMkLst>
      </pc:sldChg>
      <pc:sldChg chg="addSp delSp modSp add mod">
        <pc:chgData name="Lukas Rau" userId="a75e0523-20be-4fb9-acc6-1a36dfa716c4" providerId="ADAL" clId="{9B42299A-83A1-4C94-ACBA-E7A5EA45868F}" dt="2025-01-28T22:15:25.211" v="30345" actId="5793"/>
        <pc:sldMkLst>
          <pc:docMk/>
          <pc:sldMk cId="1495806589" sldId="446"/>
        </pc:sldMkLst>
      </pc:sldChg>
      <pc:sldChg chg="addSp delSp modSp add mod ord">
        <pc:chgData name="Lukas Rau" userId="a75e0523-20be-4fb9-acc6-1a36dfa716c4" providerId="ADAL" clId="{9B42299A-83A1-4C94-ACBA-E7A5EA45868F}" dt="2025-01-22T20:00:17.023" v="29595" actId="14100"/>
        <pc:sldMkLst>
          <pc:docMk/>
          <pc:sldMk cId="1011478239" sldId="447"/>
        </pc:sldMkLst>
      </pc:sldChg>
      <pc:sldChg chg="addSp delSp modSp add del mod">
        <pc:chgData name="Lukas Rau" userId="a75e0523-20be-4fb9-acc6-1a36dfa716c4" providerId="ADAL" clId="{9B42299A-83A1-4C94-ACBA-E7A5EA45868F}" dt="2024-12-13T09:24:58.858" v="11563" actId="2696"/>
        <pc:sldMkLst>
          <pc:docMk/>
          <pc:sldMk cId="3269226071" sldId="448"/>
        </pc:sldMkLst>
      </pc:sldChg>
      <pc:sldChg chg="addSp delSp modSp add del mod ord">
        <pc:chgData name="Lukas Rau" userId="a75e0523-20be-4fb9-acc6-1a36dfa716c4" providerId="ADAL" clId="{9B42299A-83A1-4C94-ACBA-E7A5EA45868F}" dt="2024-12-13T10:02:29.593" v="12814" actId="2696"/>
        <pc:sldMkLst>
          <pc:docMk/>
          <pc:sldMk cId="2979184662" sldId="449"/>
        </pc:sldMkLst>
      </pc:sldChg>
      <pc:sldChg chg="addSp delSp modSp add mod">
        <pc:chgData name="Lukas Rau" userId="a75e0523-20be-4fb9-acc6-1a36dfa716c4" providerId="ADAL" clId="{9B42299A-83A1-4C94-ACBA-E7A5EA45868F}" dt="2025-01-20T18:31:42.576" v="29253" actId="20577"/>
        <pc:sldMkLst>
          <pc:docMk/>
          <pc:sldMk cId="541787147" sldId="450"/>
        </pc:sldMkLst>
      </pc:sldChg>
      <pc:sldChg chg="addSp delSp modSp add mod">
        <pc:chgData name="Lukas Rau" userId="a75e0523-20be-4fb9-acc6-1a36dfa716c4" providerId="ADAL" clId="{9B42299A-83A1-4C94-ACBA-E7A5EA45868F}" dt="2025-01-22T20:00:22.650" v="29596" actId="2711"/>
        <pc:sldMkLst>
          <pc:docMk/>
          <pc:sldMk cId="925422638" sldId="451"/>
        </pc:sldMkLst>
      </pc:sldChg>
      <pc:sldChg chg="addSp delSp modSp add mod">
        <pc:chgData name="Lukas Rau" userId="a75e0523-20be-4fb9-acc6-1a36dfa716c4" providerId="ADAL" clId="{9B42299A-83A1-4C94-ACBA-E7A5EA45868F}" dt="2025-01-20T20:28:23.819" v="29489" actId="14100"/>
        <pc:sldMkLst>
          <pc:docMk/>
          <pc:sldMk cId="2397090823" sldId="452"/>
        </pc:sldMkLst>
      </pc:sldChg>
      <pc:sldChg chg="addSp delSp modSp add mod">
        <pc:chgData name="Lukas Rau" userId="a75e0523-20be-4fb9-acc6-1a36dfa716c4" providerId="ADAL" clId="{9B42299A-83A1-4C94-ACBA-E7A5EA45868F}" dt="2025-01-20T20:28:32.929" v="29491" actId="14100"/>
        <pc:sldMkLst>
          <pc:docMk/>
          <pc:sldMk cId="3806529852" sldId="453"/>
        </pc:sldMkLst>
      </pc:sldChg>
      <pc:sldChg chg="addSp delSp modSp add mod ord">
        <pc:chgData name="Lukas Rau" userId="a75e0523-20be-4fb9-acc6-1a36dfa716c4" providerId="ADAL" clId="{9B42299A-83A1-4C94-ACBA-E7A5EA45868F}" dt="2024-12-28T14:05:48.653" v="20721" actId="113"/>
        <pc:sldMkLst>
          <pc:docMk/>
          <pc:sldMk cId="3796567077" sldId="454"/>
        </pc:sldMkLst>
      </pc:sldChg>
      <pc:sldChg chg="addSp delSp modSp add mod ord">
        <pc:chgData name="Lukas Rau" userId="a75e0523-20be-4fb9-acc6-1a36dfa716c4" providerId="ADAL" clId="{9B42299A-83A1-4C94-ACBA-E7A5EA45868F}" dt="2025-01-20T20:29:37.007" v="29500" actId="20577"/>
        <pc:sldMkLst>
          <pc:docMk/>
          <pc:sldMk cId="3416925434" sldId="455"/>
        </pc:sldMkLst>
      </pc:sldChg>
      <pc:sldChg chg="addSp delSp modSp add mod">
        <pc:chgData name="Lukas Rau" userId="a75e0523-20be-4fb9-acc6-1a36dfa716c4" providerId="ADAL" clId="{9B42299A-83A1-4C94-ACBA-E7A5EA45868F}" dt="2025-01-20T19:01:40.787" v="29418" actId="20577"/>
        <pc:sldMkLst>
          <pc:docMk/>
          <pc:sldMk cId="4159375901" sldId="456"/>
        </pc:sldMkLst>
      </pc:sldChg>
      <pc:sldChg chg="addSp delSp modSp add mod">
        <pc:chgData name="Lukas Rau" userId="a75e0523-20be-4fb9-acc6-1a36dfa716c4" providerId="ADAL" clId="{9B42299A-83A1-4C94-ACBA-E7A5EA45868F}" dt="2024-12-28T14:14:54.455" v="20880" actId="11"/>
        <pc:sldMkLst>
          <pc:docMk/>
          <pc:sldMk cId="988178444" sldId="457"/>
        </pc:sldMkLst>
      </pc:sldChg>
      <pc:sldChg chg="addSp delSp modSp add mod">
        <pc:chgData name="Lukas Rau" userId="a75e0523-20be-4fb9-acc6-1a36dfa716c4" providerId="ADAL" clId="{9B42299A-83A1-4C94-ACBA-E7A5EA45868F}" dt="2025-01-28T22:13:22.387" v="30324" actId="20577"/>
        <pc:sldMkLst>
          <pc:docMk/>
          <pc:sldMk cId="687854547" sldId="458"/>
        </pc:sldMkLst>
      </pc:sldChg>
      <pc:sldChg chg="modSp add mod ord">
        <pc:chgData name="Lukas Rau" userId="a75e0523-20be-4fb9-acc6-1a36dfa716c4" providerId="ADAL" clId="{9B42299A-83A1-4C94-ACBA-E7A5EA45868F}" dt="2025-01-03T11:13:16.115" v="21001" actId="20577"/>
        <pc:sldMkLst>
          <pc:docMk/>
          <pc:sldMk cId="1532270283" sldId="462"/>
        </pc:sldMkLst>
      </pc:sldChg>
      <pc:sldChg chg="addSp delSp modSp add mod ord">
        <pc:chgData name="Lukas Rau" userId="a75e0523-20be-4fb9-acc6-1a36dfa716c4" providerId="ADAL" clId="{9B42299A-83A1-4C94-ACBA-E7A5EA45868F}" dt="2025-01-20T20:33:50.273" v="29552" actId="207"/>
        <pc:sldMkLst>
          <pc:docMk/>
          <pc:sldMk cId="3939354789" sldId="463"/>
        </pc:sldMkLst>
      </pc:sldChg>
      <pc:sldChg chg="addSp delSp modSp add del mod ord">
        <pc:chgData name="Lukas Rau" userId="a75e0523-20be-4fb9-acc6-1a36dfa716c4" providerId="ADAL" clId="{9B42299A-83A1-4C94-ACBA-E7A5EA45868F}" dt="2025-01-03T12:09:13.463" v="21860" actId="2696"/>
        <pc:sldMkLst>
          <pc:docMk/>
          <pc:sldMk cId="2686673137" sldId="464"/>
        </pc:sldMkLst>
      </pc:sldChg>
      <pc:sldChg chg="addSp modSp add mod">
        <pc:chgData name="Lukas Rau" userId="a75e0523-20be-4fb9-acc6-1a36dfa716c4" providerId="ADAL" clId="{9B42299A-83A1-4C94-ACBA-E7A5EA45868F}" dt="2025-01-05T11:42:04.949" v="22668" actId="20577"/>
        <pc:sldMkLst>
          <pc:docMk/>
          <pc:sldMk cId="3459382042" sldId="465"/>
        </pc:sldMkLst>
      </pc:sldChg>
      <pc:sldChg chg="modSp add mod ord">
        <pc:chgData name="Lukas Rau" userId="a75e0523-20be-4fb9-acc6-1a36dfa716c4" providerId="ADAL" clId="{9B42299A-83A1-4C94-ACBA-E7A5EA45868F}" dt="2025-01-05T11:33:09.107" v="22588" actId="20577"/>
        <pc:sldMkLst>
          <pc:docMk/>
          <pc:sldMk cId="132633914" sldId="466"/>
        </pc:sldMkLst>
      </pc:sldChg>
      <pc:sldChg chg="delSp modSp add mod ord">
        <pc:chgData name="Lukas Rau" userId="a75e0523-20be-4fb9-acc6-1a36dfa716c4" providerId="ADAL" clId="{9B42299A-83A1-4C94-ACBA-E7A5EA45868F}" dt="2025-01-28T22:12:28.830" v="30322" actId="1076"/>
        <pc:sldMkLst>
          <pc:docMk/>
          <pc:sldMk cId="1858285298" sldId="472"/>
        </pc:sldMkLst>
      </pc:sldChg>
      <pc:sldChg chg="addSp delSp modSp add del mod ord">
        <pc:chgData name="Lukas Rau" userId="a75e0523-20be-4fb9-acc6-1a36dfa716c4" providerId="ADAL" clId="{9B42299A-83A1-4C94-ACBA-E7A5EA45868F}" dt="2025-01-10T19:21:33.436" v="26561" actId="2696"/>
        <pc:sldMkLst>
          <pc:docMk/>
          <pc:sldMk cId="340266215" sldId="473"/>
        </pc:sldMkLst>
      </pc:sldChg>
      <pc:sldChg chg="addSp modSp add mod ord">
        <pc:chgData name="Lukas Rau" userId="a75e0523-20be-4fb9-acc6-1a36dfa716c4" providerId="ADAL" clId="{9B42299A-83A1-4C94-ACBA-E7A5EA45868F}" dt="2025-01-10T20:41:57.892" v="27468" actId="20577"/>
        <pc:sldMkLst>
          <pc:docMk/>
          <pc:sldMk cId="1150075437" sldId="474"/>
        </pc:sldMkLst>
      </pc:sldChg>
      <pc:sldChg chg="addSp delSp modSp add mod">
        <pc:chgData name="Lukas Rau" userId="a75e0523-20be-4fb9-acc6-1a36dfa716c4" providerId="ADAL" clId="{9B42299A-83A1-4C94-ACBA-E7A5EA45868F}" dt="2025-01-22T20:02:00.629" v="29603" actId="255"/>
        <pc:sldMkLst>
          <pc:docMk/>
          <pc:sldMk cId="3229242791" sldId="475"/>
        </pc:sldMkLst>
      </pc:sldChg>
      <pc:sldChg chg="addSp delSp modSp add mod">
        <pc:chgData name="Lukas Rau" userId="a75e0523-20be-4fb9-acc6-1a36dfa716c4" providerId="ADAL" clId="{9B42299A-83A1-4C94-ACBA-E7A5EA45868F}" dt="2025-01-28T22:11:01.440" v="30316" actId="20577"/>
        <pc:sldMkLst>
          <pc:docMk/>
          <pc:sldMk cId="1003491974" sldId="476"/>
        </pc:sldMkLst>
      </pc:sldChg>
      <pc:sldChg chg="addSp delSp modSp add mod">
        <pc:chgData name="Lukas Rau" userId="a75e0523-20be-4fb9-acc6-1a36dfa716c4" providerId="ADAL" clId="{9B42299A-83A1-4C94-ACBA-E7A5EA45868F}" dt="2025-01-28T22:10:16.310" v="30304" actId="20577"/>
        <pc:sldMkLst>
          <pc:docMk/>
          <pc:sldMk cId="3486327106" sldId="477"/>
        </pc:sldMkLst>
      </pc:sldChg>
      <pc:sldChg chg="addSp delSp modSp add mod">
        <pc:chgData name="Lukas Rau" userId="a75e0523-20be-4fb9-acc6-1a36dfa716c4" providerId="ADAL" clId="{9B42299A-83A1-4C94-ACBA-E7A5EA45868F}" dt="2025-01-22T20:08:19.260" v="29704" actId="14100"/>
        <pc:sldMkLst>
          <pc:docMk/>
          <pc:sldMk cId="3964838248" sldId="478"/>
        </pc:sldMkLst>
      </pc:sldChg>
      <pc:sldChg chg="addSp modSp add mod ord">
        <pc:chgData name="Lukas Rau" userId="a75e0523-20be-4fb9-acc6-1a36dfa716c4" providerId="ADAL" clId="{9B42299A-83A1-4C94-ACBA-E7A5EA45868F}" dt="2025-01-28T22:05:10.384" v="29897" actId="20577"/>
        <pc:sldMkLst>
          <pc:docMk/>
          <pc:sldMk cId="931298400" sldId="479"/>
        </pc:sldMkLst>
      </pc:sldChg>
      <pc:sldChg chg="modSp add del mod ord">
        <pc:chgData name="Lukas Rau" userId="a75e0523-20be-4fb9-acc6-1a36dfa716c4" providerId="ADAL" clId="{9B42299A-83A1-4C94-ACBA-E7A5EA45868F}" dt="2025-01-28T22:20:18" v="30370" actId="2696"/>
        <pc:sldMkLst>
          <pc:docMk/>
          <pc:sldMk cId="1853987392" sldId="482"/>
        </pc:sldMkLst>
      </pc:sldChg>
      <pc:sldChg chg="modSp add del mod ord">
        <pc:chgData name="Lukas Rau" userId="a75e0523-20be-4fb9-acc6-1a36dfa716c4" providerId="ADAL" clId="{9B42299A-83A1-4C94-ACBA-E7A5EA45868F}" dt="2025-01-14T15:59:13.283" v="27573" actId="2696"/>
        <pc:sldMkLst>
          <pc:docMk/>
          <pc:sldMk cId="1665974819" sldId="483"/>
        </pc:sldMkLst>
      </pc:sldChg>
      <pc:sldChg chg="addSp delSp modSp mod ord">
        <pc:chgData name="Lukas Rau" userId="a75e0523-20be-4fb9-acc6-1a36dfa716c4" providerId="ADAL" clId="{9B42299A-83A1-4C94-ACBA-E7A5EA45868F}" dt="2025-01-20T18:32:35.325" v="29267" actId="20577"/>
        <pc:sldMkLst>
          <pc:docMk/>
          <pc:sldMk cId="1687439426" sldId="483"/>
        </pc:sldMkLst>
      </pc:sldChg>
      <pc:sldChg chg="modSp add del mod ord">
        <pc:chgData name="Lukas Rau" userId="a75e0523-20be-4fb9-acc6-1a36dfa716c4" providerId="ADAL" clId="{9B42299A-83A1-4C94-ACBA-E7A5EA45868F}" dt="2025-01-14T16:00:27.583" v="27581" actId="2696"/>
        <pc:sldMkLst>
          <pc:docMk/>
          <pc:sldMk cId="2788562541" sldId="483"/>
        </pc:sldMkLst>
      </pc:sldChg>
      <pc:sldChg chg="modSp add del mod">
        <pc:chgData name="Lukas Rau" userId="a75e0523-20be-4fb9-acc6-1a36dfa716c4" providerId="ADAL" clId="{9B42299A-83A1-4C94-ACBA-E7A5EA45868F}" dt="2025-01-14T17:54:06.138" v="28015" actId="2696"/>
        <pc:sldMkLst>
          <pc:docMk/>
          <pc:sldMk cId="3898018258" sldId="483"/>
        </pc:sldMkLst>
      </pc:sldChg>
      <pc:sldMasterChg chg="delSldLayout">
        <pc:chgData name="Lukas Rau" userId="a75e0523-20be-4fb9-acc6-1a36dfa716c4" providerId="ADAL" clId="{9B42299A-83A1-4C94-ACBA-E7A5EA45868F}" dt="2025-01-14T16:00:27.583" v="27581" actId="2696"/>
        <pc:sldMasterMkLst>
          <pc:docMk/>
          <pc:sldMasterMk cId="0" sldId="2147483669"/>
        </pc:sldMasterMkLst>
        <pc:sldLayoutChg chg="del">
          <pc:chgData name="Lukas Rau" userId="a75e0523-20be-4fb9-acc6-1a36dfa716c4" providerId="ADAL" clId="{9B42299A-83A1-4C94-ACBA-E7A5EA45868F}" dt="2024-12-17T10:22:51.655" v="18085" actId="2696"/>
          <pc:sldLayoutMkLst>
            <pc:docMk/>
            <pc:sldMasterMk cId="0" sldId="2147483669"/>
            <pc:sldLayoutMk cId="0" sldId="2147483654"/>
          </pc:sldLayoutMkLst>
        </pc:sldLayoutChg>
        <pc:sldLayoutChg chg="del">
          <pc:chgData name="Lukas Rau" userId="a75e0523-20be-4fb9-acc6-1a36dfa716c4" providerId="ADAL" clId="{9B42299A-83A1-4C94-ACBA-E7A5EA45868F}" dt="2025-01-14T16:00:27.583" v="27581" actId="2696"/>
          <pc:sldLayoutMkLst>
            <pc:docMk/>
            <pc:sldMasterMk cId="0" sldId="2147483669"/>
            <pc:sldLayoutMk cId="400737408" sldId="2147483671"/>
          </pc:sldLayoutMkLst>
        </pc:sldLayoutChg>
        <pc:sldLayoutChg chg="del">
          <pc:chgData name="Lukas Rau" userId="a75e0523-20be-4fb9-acc6-1a36dfa716c4" providerId="ADAL" clId="{9B42299A-83A1-4C94-ACBA-E7A5EA45868F}" dt="2024-12-28T12:53:49.144" v="19901" actId="2696"/>
          <pc:sldLayoutMkLst>
            <pc:docMk/>
            <pc:sldMasterMk cId="0" sldId="2147483669"/>
            <pc:sldLayoutMk cId="671023608" sldId="2147483671"/>
          </pc:sldLayoutMkLst>
        </pc:sldLayoutChg>
      </pc:sldMasterChg>
    </pc:docChg>
  </pc:docChgLst>
  <pc:docChgLst>
    <pc:chgData name="Aly Barakat" userId="S::aly.barakat@tum.de::59442ab7-ba36-4d6f-8096-0727d85e2b9f" providerId="AD" clId="Web-{5E3FEE78-9C94-8FE3-941F-ABE9ED58800D}"/>
    <pc:docChg chg="modSld">
      <pc:chgData name="Aly Barakat" userId="S::aly.barakat@tum.de::59442ab7-ba36-4d6f-8096-0727d85e2b9f" providerId="AD" clId="Web-{5E3FEE78-9C94-8FE3-941F-ABE9ED58800D}" dt="2024-07-11T09:41:16.381" v="5" actId="14100"/>
      <pc:docMkLst>
        <pc:docMk/>
      </pc:docMkLst>
      <pc:sldChg chg="modSp">
        <pc:chgData name="Aly Barakat" userId="S::aly.barakat@tum.de::59442ab7-ba36-4d6f-8096-0727d85e2b9f" providerId="AD" clId="Web-{5E3FEE78-9C94-8FE3-941F-ABE9ED58800D}" dt="2024-07-11T09:20:53.104" v="1" actId="1076"/>
        <pc:sldMkLst>
          <pc:docMk/>
          <pc:sldMk cId="3419489590" sldId="288"/>
        </pc:sldMkLst>
      </pc:sldChg>
      <pc:sldChg chg="modSp">
        <pc:chgData name="Aly Barakat" userId="S::aly.barakat@tum.de::59442ab7-ba36-4d6f-8096-0727d85e2b9f" providerId="AD" clId="Web-{5E3FEE78-9C94-8FE3-941F-ABE9ED58800D}" dt="2024-07-11T09:41:16.381" v="5" actId="14100"/>
        <pc:sldMkLst>
          <pc:docMk/>
          <pc:sldMk cId="1836807439" sldId="290"/>
        </pc:sldMkLst>
      </pc:sldChg>
    </pc:docChg>
  </pc:docChgLst>
  <pc:docChgLst>
    <pc:chgData name="Lukas Rau" userId="S::lukas.rau@tum.de::a75e0523-20be-4fb9-acc6-1a36dfa716c4" providerId="AD" clId="Web-{084EB31B-3B38-FD8D-65FE-9E5970034A1E}"/>
    <pc:docChg chg="delSld modSld modSection">
      <pc:chgData name="Lukas Rau" userId="S::lukas.rau@tum.de::a75e0523-20be-4fb9-acc6-1a36dfa716c4" providerId="AD" clId="Web-{084EB31B-3B38-FD8D-65FE-9E5970034A1E}" dt="2025-01-15T17:01:35.841" v="1"/>
      <pc:docMkLst>
        <pc:docMk/>
      </pc:docMkLst>
      <pc:sldChg chg="del mod modShow">
        <pc:chgData name="Lukas Rau" userId="S::lukas.rau@tum.de::a75e0523-20be-4fb9-acc6-1a36dfa716c4" providerId="AD" clId="Web-{084EB31B-3B38-FD8D-65FE-9E5970034A1E}" dt="2025-01-15T17:01:35.841" v="1"/>
        <pc:sldMkLst>
          <pc:docMk/>
          <pc:sldMk cId="3796567077" sldId="454"/>
        </pc:sldMkLst>
      </pc:sldChg>
    </pc:docChg>
  </pc:docChgLst>
  <pc:docChgLst>
    <pc:chgData name="Nina Steger" userId="efda762e-901d-408b-befd-9a071afe5357" providerId="ADAL" clId="{0FB2ED04-2BE2-4240-81D2-A72A1E4E4B8C}"/>
    <pc:docChg chg="undo redo custSel modSld">
      <pc:chgData name="Nina Steger" userId="efda762e-901d-408b-befd-9a071afe5357" providerId="ADAL" clId="{0FB2ED04-2BE2-4240-81D2-A72A1E4E4B8C}" dt="2025-02-01T12:54:53.093" v="663" actId="255"/>
      <pc:docMkLst>
        <pc:docMk/>
      </pc:docMkLst>
      <pc:sldChg chg="addSp delSp modSp mod">
        <pc:chgData name="Nina Steger" userId="efda762e-901d-408b-befd-9a071afe5357" providerId="ADAL" clId="{0FB2ED04-2BE2-4240-81D2-A72A1E4E4B8C}" dt="2025-01-29T14:51:19.474" v="25" actId="20577"/>
        <pc:sldMkLst>
          <pc:docMk/>
          <pc:sldMk cId="855508414" sldId="301"/>
        </pc:sldMkLst>
      </pc:sldChg>
      <pc:sldChg chg="modSp mod">
        <pc:chgData name="Nina Steger" userId="efda762e-901d-408b-befd-9a071afe5357" providerId="ADAL" clId="{0FB2ED04-2BE2-4240-81D2-A72A1E4E4B8C}" dt="2025-01-29T14:43:45.210" v="0" actId="20577"/>
        <pc:sldMkLst>
          <pc:docMk/>
          <pc:sldMk cId="1608053785" sldId="303"/>
        </pc:sldMkLst>
      </pc:sldChg>
      <pc:sldChg chg="modSp mod">
        <pc:chgData name="Nina Steger" userId="efda762e-901d-408b-befd-9a071afe5357" providerId="ADAL" clId="{0FB2ED04-2BE2-4240-81D2-A72A1E4E4B8C}" dt="2025-01-30T22:04:52.440" v="256" actId="20577"/>
        <pc:sldMkLst>
          <pc:docMk/>
          <pc:sldMk cId="656948936" sldId="307"/>
        </pc:sldMkLst>
      </pc:sldChg>
      <pc:sldChg chg="modSp mod">
        <pc:chgData name="Nina Steger" userId="efda762e-901d-408b-befd-9a071afe5357" providerId="ADAL" clId="{0FB2ED04-2BE2-4240-81D2-A72A1E4E4B8C}" dt="2025-01-29T15:06:20.792" v="44" actId="20577"/>
        <pc:sldMkLst>
          <pc:docMk/>
          <pc:sldMk cId="4118735400" sldId="311"/>
        </pc:sldMkLst>
      </pc:sldChg>
      <pc:sldChg chg="modSp mod">
        <pc:chgData name="Nina Steger" userId="efda762e-901d-408b-befd-9a071afe5357" providerId="ADAL" clId="{0FB2ED04-2BE2-4240-81D2-A72A1E4E4B8C}" dt="2025-01-30T13:18:59.623" v="93" actId="20577"/>
        <pc:sldMkLst>
          <pc:docMk/>
          <pc:sldMk cId="3420601596" sldId="315"/>
        </pc:sldMkLst>
      </pc:sldChg>
      <pc:sldChg chg="modSp mod">
        <pc:chgData name="Nina Steger" userId="efda762e-901d-408b-befd-9a071afe5357" providerId="ADAL" clId="{0FB2ED04-2BE2-4240-81D2-A72A1E4E4B8C}" dt="2025-01-29T14:53:54.477" v="28" actId="20577"/>
        <pc:sldMkLst>
          <pc:docMk/>
          <pc:sldMk cId="1183542163" sldId="339"/>
        </pc:sldMkLst>
      </pc:sldChg>
      <pc:sldChg chg="modSp mod">
        <pc:chgData name="Nina Steger" userId="efda762e-901d-408b-befd-9a071afe5357" providerId="ADAL" clId="{0FB2ED04-2BE2-4240-81D2-A72A1E4E4B8C}" dt="2025-01-30T21:56:20.294" v="253" actId="1076"/>
        <pc:sldMkLst>
          <pc:docMk/>
          <pc:sldMk cId="3645510430" sldId="379"/>
        </pc:sldMkLst>
      </pc:sldChg>
      <pc:sldChg chg="modSp mod">
        <pc:chgData name="Nina Steger" userId="efda762e-901d-408b-befd-9a071afe5357" providerId="ADAL" clId="{0FB2ED04-2BE2-4240-81D2-A72A1E4E4B8C}" dt="2025-01-29T14:43:56.583" v="2" actId="20577"/>
        <pc:sldMkLst>
          <pc:docMk/>
          <pc:sldMk cId="2984851244" sldId="385"/>
        </pc:sldMkLst>
      </pc:sldChg>
      <pc:sldChg chg="modSp mod">
        <pc:chgData name="Nina Steger" userId="efda762e-901d-408b-befd-9a071afe5357" providerId="ADAL" clId="{0FB2ED04-2BE2-4240-81D2-A72A1E4E4B8C}" dt="2025-01-29T15:04:15.289" v="33" actId="20577"/>
        <pc:sldMkLst>
          <pc:docMk/>
          <pc:sldMk cId="1409559676" sldId="386"/>
        </pc:sldMkLst>
      </pc:sldChg>
      <pc:sldChg chg="modSp mod">
        <pc:chgData name="Nina Steger" userId="efda762e-901d-408b-befd-9a071afe5357" providerId="ADAL" clId="{0FB2ED04-2BE2-4240-81D2-A72A1E4E4B8C}" dt="2025-01-30T19:44:35.992" v="138" actId="20577"/>
        <pc:sldMkLst>
          <pc:docMk/>
          <pc:sldMk cId="4224912597" sldId="397"/>
        </pc:sldMkLst>
      </pc:sldChg>
      <pc:sldChg chg="modSp mod">
        <pc:chgData name="Nina Steger" userId="efda762e-901d-408b-befd-9a071afe5357" providerId="ADAL" clId="{0FB2ED04-2BE2-4240-81D2-A72A1E4E4B8C}" dt="2025-01-30T20:10:15.199" v="159"/>
        <pc:sldMkLst>
          <pc:docMk/>
          <pc:sldMk cId="3795676206" sldId="398"/>
        </pc:sldMkLst>
      </pc:sldChg>
      <pc:sldChg chg="modSp mod">
        <pc:chgData name="Nina Steger" userId="efda762e-901d-408b-befd-9a071afe5357" providerId="ADAL" clId="{0FB2ED04-2BE2-4240-81D2-A72A1E4E4B8C}" dt="2025-01-30T20:38:48.303" v="168" actId="20577"/>
        <pc:sldMkLst>
          <pc:docMk/>
          <pc:sldMk cId="4004313946" sldId="399"/>
        </pc:sldMkLst>
      </pc:sldChg>
      <pc:sldChg chg="modSp mod">
        <pc:chgData name="Nina Steger" userId="efda762e-901d-408b-befd-9a071afe5357" providerId="ADAL" clId="{0FB2ED04-2BE2-4240-81D2-A72A1E4E4B8C}" dt="2025-01-30T20:36:23.976" v="167" actId="20577"/>
        <pc:sldMkLst>
          <pc:docMk/>
          <pc:sldMk cId="71582575" sldId="407"/>
        </pc:sldMkLst>
      </pc:sldChg>
      <pc:sldChg chg="modSp mod">
        <pc:chgData name="Nina Steger" userId="efda762e-901d-408b-befd-9a071afe5357" providerId="ADAL" clId="{0FB2ED04-2BE2-4240-81D2-A72A1E4E4B8C}" dt="2025-01-30T12:41:05.023" v="71" actId="20577"/>
        <pc:sldMkLst>
          <pc:docMk/>
          <pc:sldMk cId="1390558626" sldId="420"/>
        </pc:sldMkLst>
      </pc:sldChg>
      <pc:sldChg chg="modSp mod">
        <pc:chgData name="Nina Steger" userId="efda762e-901d-408b-befd-9a071afe5357" providerId="ADAL" clId="{0FB2ED04-2BE2-4240-81D2-A72A1E4E4B8C}" dt="2025-01-30T12:44:14.436" v="78" actId="1076"/>
        <pc:sldMkLst>
          <pc:docMk/>
          <pc:sldMk cId="2799037114" sldId="423"/>
        </pc:sldMkLst>
      </pc:sldChg>
      <pc:sldChg chg="modSp mod">
        <pc:chgData name="Nina Steger" userId="efda762e-901d-408b-befd-9a071afe5357" providerId="ADAL" clId="{0FB2ED04-2BE2-4240-81D2-A72A1E4E4B8C}" dt="2025-01-30T12:44:50.238" v="80" actId="20577"/>
        <pc:sldMkLst>
          <pc:docMk/>
          <pc:sldMk cId="2561607360" sldId="425"/>
        </pc:sldMkLst>
      </pc:sldChg>
      <pc:sldChg chg="modSp mod">
        <pc:chgData name="Nina Steger" userId="efda762e-901d-408b-befd-9a071afe5357" providerId="ADAL" clId="{0FB2ED04-2BE2-4240-81D2-A72A1E4E4B8C}" dt="2025-01-30T12:48:59.695" v="83" actId="20577"/>
        <pc:sldMkLst>
          <pc:docMk/>
          <pc:sldMk cId="737680729" sldId="426"/>
        </pc:sldMkLst>
      </pc:sldChg>
      <pc:sldChg chg="modSp mod">
        <pc:chgData name="Nina Steger" userId="efda762e-901d-408b-befd-9a071afe5357" providerId="ADAL" clId="{0FB2ED04-2BE2-4240-81D2-A72A1E4E4B8C}" dt="2025-01-30T18:37:35.536" v="101" actId="179"/>
        <pc:sldMkLst>
          <pc:docMk/>
          <pc:sldMk cId="2202070614" sldId="428"/>
        </pc:sldMkLst>
      </pc:sldChg>
      <pc:sldChg chg="modSp mod">
        <pc:chgData name="Nina Steger" userId="efda762e-901d-408b-befd-9a071afe5357" providerId="ADAL" clId="{0FB2ED04-2BE2-4240-81D2-A72A1E4E4B8C}" dt="2025-01-30T18:39:07.838" v="102" actId="20577"/>
        <pc:sldMkLst>
          <pc:docMk/>
          <pc:sldMk cId="2174013086" sldId="429"/>
        </pc:sldMkLst>
      </pc:sldChg>
      <pc:sldChg chg="modSp mod">
        <pc:chgData name="Nina Steger" userId="efda762e-901d-408b-befd-9a071afe5357" providerId="ADAL" clId="{0FB2ED04-2BE2-4240-81D2-A72A1E4E4B8C}" dt="2025-01-30T18:41:49.401" v="103" actId="20577"/>
        <pc:sldMkLst>
          <pc:docMk/>
          <pc:sldMk cId="3660786385" sldId="430"/>
        </pc:sldMkLst>
      </pc:sldChg>
      <pc:sldChg chg="modSp mod">
        <pc:chgData name="Nina Steger" userId="efda762e-901d-408b-befd-9a071afe5357" providerId="ADAL" clId="{0FB2ED04-2BE2-4240-81D2-A72A1E4E4B8C}" dt="2025-01-30T18:46:05.112" v="110" actId="20577"/>
        <pc:sldMkLst>
          <pc:docMk/>
          <pc:sldMk cId="1222796130" sldId="432"/>
        </pc:sldMkLst>
      </pc:sldChg>
      <pc:sldChg chg="modSp mod">
        <pc:chgData name="Nina Steger" userId="efda762e-901d-408b-befd-9a071afe5357" providerId="ADAL" clId="{0FB2ED04-2BE2-4240-81D2-A72A1E4E4B8C}" dt="2025-01-30T19:17:00.917" v="115" actId="20577"/>
        <pc:sldMkLst>
          <pc:docMk/>
          <pc:sldMk cId="2019023612" sldId="434"/>
        </pc:sldMkLst>
      </pc:sldChg>
      <pc:sldChg chg="modSp mod">
        <pc:chgData name="Nina Steger" userId="efda762e-901d-408b-befd-9a071afe5357" providerId="ADAL" clId="{0FB2ED04-2BE2-4240-81D2-A72A1E4E4B8C}" dt="2025-01-30T18:48:51.397" v="112" actId="20577"/>
        <pc:sldMkLst>
          <pc:docMk/>
          <pc:sldMk cId="3459908272" sldId="435"/>
        </pc:sldMkLst>
      </pc:sldChg>
      <pc:sldChg chg="modSp mod">
        <pc:chgData name="Nina Steger" userId="efda762e-901d-408b-befd-9a071afe5357" providerId="ADAL" clId="{0FB2ED04-2BE2-4240-81D2-A72A1E4E4B8C}" dt="2025-01-30T21:14:55.236" v="181" actId="20577"/>
        <pc:sldMkLst>
          <pc:docMk/>
          <pc:sldMk cId="1498560102" sldId="437"/>
        </pc:sldMkLst>
      </pc:sldChg>
      <pc:sldChg chg="modSp mod">
        <pc:chgData name="Nina Steger" userId="efda762e-901d-408b-befd-9a071afe5357" providerId="ADAL" clId="{0FB2ED04-2BE2-4240-81D2-A72A1E4E4B8C}" dt="2025-02-01T12:54:53.093" v="663" actId="255"/>
        <pc:sldMkLst>
          <pc:docMk/>
          <pc:sldMk cId="958515270" sldId="438"/>
        </pc:sldMkLst>
      </pc:sldChg>
      <pc:sldChg chg="modSp mod">
        <pc:chgData name="Nina Steger" userId="efda762e-901d-408b-befd-9a071afe5357" providerId="ADAL" clId="{0FB2ED04-2BE2-4240-81D2-A72A1E4E4B8C}" dt="2025-01-30T19:21:12.910" v="132" actId="179"/>
        <pc:sldMkLst>
          <pc:docMk/>
          <pc:sldMk cId="2767352284" sldId="440"/>
        </pc:sldMkLst>
      </pc:sldChg>
      <pc:sldChg chg="modSp mod">
        <pc:chgData name="Nina Steger" userId="efda762e-901d-408b-befd-9a071afe5357" providerId="ADAL" clId="{0FB2ED04-2BE2-4240-81D2-A72A1E4E4B8C}" dt="2025-01-30T19:27:09.405" v="133" actId="20577"/>
        <pc:sldMkLst>
          <pc:docMk/>
          <pc:sldMk cId="451900156" sldId="442"/>
        </pc:sldMkLst>
      </pc:sldChg>
      <pc:sldChg chg="modSp mod">
        <pc:chgData name="Nina Steger" userId="efda762e-901d-408b-befd-9a071afe5357" providerId="ADAL" clId="{0FB2ED04-2BE2-4240-81D2-A72A1E4E4B8C}" dt="2025-01-30T19:38:11.814" v="136" actId="20577"/>
        <pc:sldMkLst>
          <pc:docMk/>
          <pc:sldMk cId="2003200674" sldId="443"/>
        </pc:sldMkLst>
      </pc:sldChg>
      <pc:sldChg chg="modSp mod">
        <pc:chgData name="Nina Steger" userId="efda762e-901d-408b-befd-9a071afe5357" providerId="ADAL" clId="{0FB2ED04-2BE2-4240-81D2-A72A1E4E4B8C}" dt="2025-02-01T12:53:16.665" v="636" actId="1076"/>
        <pc:sldMkLst>
          <pc:docMk/>
          <pc:sldMk cId="4050617437" sldId="445"/>
        </pc:sldMkLst>
      </pc:sldChg>
      <pc:sldChg chg="modSp mod">
        <pc:chgData name="Nina Steger" userId="efda762e-901d-408b-befd-9a071afe5357" providerId="ADAL" clId="{0FB2ED04-2BE2-4240-81D2-A72A1E4E4B8C}" dt="2025-01-30T19:45:57.810" v="139" actId="20577"/>
        <pc:sldMkLst>
          <pc:docMk/>
          <pc:sldMk cId="1495806589" sldId="446"/>
        </pc:sldMkLst>
      </pc:sldChg>
      <pc:sldChg chg="modSp mod">
        <pc:chgData name="Nina Steger" userId="efda762e-901d-408b-befd-9a071afe5357" providerId="ADAL" clId="{0FB2ED04-2BE2-4240-81D2-A72A1E4E4B8C}" dt="2025-01-30T19:47:38.978" v="144" actId="20577"/>
        <pc:sldMkLst>
          <pc:docMk/>
          <pc:sldMk cId="541787147" sldId="450"/>
        </pc:sldMkLst>
      </pc:sldChg>
      <pc:sldChg chg="modSp mod">
        <pc:chgData name="Nina Steger" userId="efda762e-901d-408b-befd-9a071afe5357" providerId="ADAL" clId="{0FB2ED04-2BE2-4240-81D2-A72A1E4E4B8C}" dt="2025-01-30T19:48:09.862" v="145" actId="20577"/>
        <pc:sldMkLst>
          <pc:docMk/>
          <pc:sldMk cId="925422638" sldId="451"/>
        </pc:sldMkLst>
      </pc:sldChg>
      <pc:sldChg chg="modSp mod">
        <pc:chgData name="Nina Steger" userId="efda762e-901d-408b-befd-9a071afe5357" providerId="ADAL" clId="{0FB2ED04-2BE2-4240-81D2-A72A1E4E4B8C}" dt="2025-01-30T19:49:24.696" v="148" actId="20577"/>
        <pc:sldMkLst>
          <pc:docMk/>
          <pc:sldMk cId="2397090823" sldId="452"/>
        </pc:sldMkLst>
      </pc:sldChg>
      <pc:sldChg chg="modSp mod">
        <pc:chgData name="Nina Steger" userId="efda762e-901d-408b-befd-9a071afe5357" providerId="ADAL" clId="{0FB2ED04-2BE2-4240-81D2-A72A1E4E4B8C}" dt="2025-01-30T19:59:06.451" v="152" actId="20577"/>
        <pc:sldMkLst>
          <pc:docMk/>
          <pc:sldMk cId="3806529852" sldId="453"/>
        </pc:sldMkLst>
      </pc:sldChg>
      <pc:sldChg chg="modSp mod">
        <pc:chgData name="Nina Steger" userId="efda762e-901d-408b-befd-9a071afe5357" providerId="ADAL" clId="{0FB2ED04-2BE2-4240-81D2-A72A1E4E4B8C}" dt="2025-02-01T12:53:36.229" v="637"/>
        <pc:sldMkLst>
          <pc:docMk/>
          <pc:sldMk cId="3416925434" sldId="455"/>
        </pc:sldMkLst>
      </pc:sldChg>
      <pc:sldChg chg="modSp mod">
        <pc:chgData name="Nina Steger" userId="efda762e-901d-408b-befd-9a071afe5357" providerId="ADAL" clId="{0FB2ED04-2BE2-4240-81D2-A72A1E4E4B8C}" dt="2025-01-30T20:55:53.793" v="177" actId="20577"/>
        <pc:sldMkLst>
          <pc:docMk/>
          <pc:sldMk cId="4159375901" sldId="456"/>
        </pc:sldMkLst>
      </pc:sldChg>
      <pc:sldChg chg="modSp mod">
        <pc:chgData name="Nina Steger" userId="efda762e-901d-408b-befd-9a071afe5357" providerId="ADAL" clId="{0FB2ED04-2BE2-4240-81D2-A72A1E4E4B8C}" dt="2025-01-30T20:56:39.032" v="179" actId="20577"/>
        <pc:sldMkLst>
          <pc:docMk/>
          <pc:sldMk cId="687854547" sldId="458"/>
        </pc:sldMkLst>
      </pc:sldChg>
      <pc:sldChg chg="modSp mod">
        <pc:chgData name="Nina Steger" userId="efda762e-901d-408b-befd-9a071afe5357" providerId="ADAL" clId="{0FB2ED04-2BE2-4240-81D2-A72A1E4E4B8C}" dt="2025-01-30T22:13:52.380" v="270"/>
        <pc:sldMkLst>
          <pc:docMk/>
          <pc:sldMk cId="2314472185" sldId="459"/>
        </pc:sldMkLst>
      </pc:sldChg>
      <pc:sldChg chg="modSp mod">
        <pc:chgData name="Nina Steger" userId="efda762e-901d-408b-befd-9a071afe5357" providerId="ADAL" clId="{0FB2ED04-2BE2-4240-81D2-A72A1E4E4B8C}" dt="2025-01-30T21:41:54.360" v="232" actId="20577"/>
        <pc:sldMkLst>
          <pc:docMk/>
          <pc:sldMk cId="3928735736" sldId="461"/>
        </pc:sldMkLst>
      </pc:sldChg>
      <pc:sldChg chg="modSp mod">
        <pc:chgData name="Nina Steger" userId="efda762e-901d-408b-befd-9a071afe5357" providerId="ADAL" clId="{0FB2ED04-2BE2-4240-81D2-A72A1E4E4B8C}" dt="2025-01-30T22:21:18.873" v="307" actId="20577"/>
        <pc:sldMkLst>
          <pc:docMk/>
          <pc:sldMk cId="3939354789" sldId="463"/>
        </pc:sldMkLst>
      </pc:sldChg>
      <pc:sldChg chg="modSp mod">
        <pc:chgData name="Nina Steger" userId="efda762e-901d-408b-befd-9a071afe5357" providerId="ADAL" clId="{0FB2ED04-2BE2-4240-81D2-A72A1E4E4B8C}" dt="2025-01-30T21:23:07.520" v="223" actId="20577"/>
        <pc:sldMkLst>
          <pc:docMk/>
          <pc:sldMk cId="2138083522" sldId="468"/>
        </pc:sldMkLst>
      </pc:sldChg>
      <pc:sldChg chg="modSp mod">
        <pc:chgData name="Nina Steger" userId="efda762e-901d-408b-befd-9a071afe5357" providerId="ADAL" clId="{0FB2ED04-2BE2-4240-81D2-A72A1E4E4B8C}" dt="2025-01-30T21:50:34.616" v="251" actId="20577"/>
        <pc:sldMkLst>
          <pc:docMk/>
          <pc:sldMk cId="1813835250" sldId="470"/>
        </pc:sldMkLst>
      </pc:sldChg>
      <pc:sldChg chg="modSp mod">
        <pc:chgData name="Nina Steger" userId="efda762e-901d-408b-befd-9a071afe5357" providerId="ADAL" clId="{0FB2ED04-2BE2-4240-81D2-A72A1E4E4B8C}" dt="2025-01-30T22:15:51.836" v="277" actId="1076"/>
        <pc:sldMkLst>
          <pc:docMk/>
          <pc:sldMk cId="3927665919" sldId="471"/>
        </pc:sldMkLst>
      </pc:sldChg>
      <pc:sldChg chg="modSp mod">
        <pc:chgData name="Nina Steger" userId="efda762e-901d-408b-befd-9a071afe5357" providerId="ADAL" clId="{0FB2ED04-2BE2-4240-81D2-A72A1E4E4B8C}" dt="2025-01-30T22:25:40.190" v="311" actId="5793"/>
        <pc:sldMkLst>
          <pc:docMk/>
          <pc:sldMk cId="1858285298" sldId="472"/>
        </pc:sldMkLst>
      </pc:sldChg>
      <pc:sldChg chg="modSp mod">
        <pc:chgData name="Nina Steger" userId="efda762e-901d-408b-befd-9a071afe5357" providerId="ADAL" clId="{0FB2ED04-2BE2-4240-81D2-A72A1E4E4B8C}" dt="2025-01-30T22:29:07.924" v="351" actId="20577"/>
        <pc:sldMkLst>
          <pc:docMk/>
          <pc:sldMk cId="1150075437" sldId="474"/>
        </pc:sldMkLst>
      </pc:sldChg>
      <pc:sldChg chg="modSp mod">
        <pc:chgData name="Nina Steger" userId="efda762e-901d-408b-befd-9a071afe5357" providerId="ADAL" clId="{0FB2ED04-2BE2-4240-81D2-A72A1E4E4B8C}" dt="2025-01-30T22:28:18.779" v="347" actId="20577"/>
        <pc:sldMkLst>
          <pc:docMk/>
          <pc:sldMk cId="1003491974" sldId="476"/>
        </pc:sldMkLst>
      </pc:sldChg>
      <pc:sldChg chg="modSp mod">
        <pc:chgData name="Nina Steger" userId="efda762e-901d-408b-befd-9a071afe5357" providerId="ADAL" clId="{0FB2ED04-2BE2-4240-81D2-A72A1E4E4B8C}" dt="2025-01-30T22:27:04.651" v="337" actId="20577"/>
        <pc:sldMkLst>
          <pc:docMk/>
          <pc:sldMk cId="931298400" sldId="479"/>
        </pc:sldMkLst>
      </pc:sldChg>
      <pc:sldChg chg="modSp mod">
        <pc:chgData name="Nina Steger" userId="efda762e-901d-408b-befd-9a071afe5357" providerId="ADAL" clId="{0FB2ED04-2BE2-4240-81D2-A72A1E4E4B8C}" dt="2025-01-31T08:54:26.354" v="605" actId="20577"/>
        <pc:sldMkLst>
          <pc:docMk/>
          <pc:sldMk cId="1930544580" sldId="481"/>
        </pc:sldMkLst>
      </pc:sldChg>
      <pc:sldChg chg="modSp mod">
        <pc:chgData name="Nina Steger" userId="efda762e-901d-408b-befd-9a071afe5357" providerId="ADAL" clId="{0FB2ED04-2BE2-4240-81D2-A72A1E4E4B8C}" dt="2025-01-31T08:55:09.940" v="618" actId="20577"/>
        <pc:sldMkLst>
          <pc:docMk/>
          <pc:sldMk cId="1638968597" sldId="484"/>
        </pc:sldMkLst>
      </pc:sldChg>
      <pc:sldChg chg="modSp mod">
        <pc:chgData name="Nina Steger" userId="efda762e-901d-408b-befd-9a071afe5357" providerId="ADAL" clId="{0FB2ED04-2BE2-4240-81D2-A72A1E4E4B8C}" dt="2025-01-30T22:32:37.263" v="411" actId="20577"/>
        <pc:sldMkLst>
          <pc:docMk/>
          <pc:sldMk cId="3582432814" sldId="486"/>
        </pc:sldMkLst>
      </pc:sldChg>
      <pc:sldChg chg="modSp mod modShow">
        <pc:chgData name="Nina Steger" userId="efda762e-901d-408b-befd-9a071afe5357" providerId="ADAL" clId="{0FB2ED04-2BE2-4240-81D2-A72A1E4E4B8C}" dt="2025-01-30T22:38:49.921" v="488" actId="729"/>
        <pc:sldMkLst>
          <pc:docMk/>
          <pc:sldMk cId="163955755" sldId="487"/>
        </pc:sldMkLst>
      </pc:sldChg>
      <pc:sldChg chg="modSp mod">
        <pc:chgData name="Nina Steger" userId="efda762e-901d-408b-befd-9a071afe5357" providerId="ADAL" clId="{0FB2ED04-2BE2-4240-81D2-A72A1E4E4B8C}" dt="2025-01-30T22:39:31.224" v="496" actId="20577"/>
        <pc:sldMkLst>
          <pc:docMk/>
          <pc:sldMk cId="1845829592" sldId="488"/>
        </pc:sldMkLst>
      </pc:sldChg>
      <pc:sldChg chg="modSp mod">
        <pc:chgData name="Nina Steger" userId="efda762e-901d-408b-befd-9a071afe5357" providerId="ADAL" clId="{0FB2ED04-2BE2-4240-81D2-A72A1E4E4B8C}" dt="2025-01-30T22:42:44.274" v="534" actId="20577"/>
        <pc:sldMkLst>
          <pc:docMk/>
          <pc:sldMk cId="811887742" sldId="489"/>
        </pc:sldMkLst>
      </pc:sldChg>
      <pc:sldChg chg="modSp mod">
        <pc:chgData name="Nina Steger" userId="efda762e-901d-408b-befd-9a071afe5357" providerId="ADAL" clId="{0FB2ED04-2BE2-4240-81D2-A72A1E4E4B8C}" dt="2025-01-30T22:13:18.421" v="269"/>
        <pc:sldMkLst>
          <pc:docMk/>
          <pc:sldMk cId="3426481833" sldId="490"/>
        </pc:sldMkLst>
      </pc:sldChg>
      <pc:sldChg chg="modSp mod">
        <pc:chgData name="Nina Steger" userId="efda762e-901d-408b-befd-9a071afe5357" providerId="ADAL" clId="{0FB2ED04-2BE2-4240-81D2-A72A1E4E4B8C}" dt="2025-01-30T21:21:09.907" v="220" actId="20577"/>
        <pc:sldMkLst>
          <pc:docMk/>
          <pc:sldMk cId="2749491118" sldId="491"/>
        </pc:sldMkLst>
      </pc:sldChg>
      <pc:sldChg chg="modSp mod">
        <pc:chgData name="Nina Steger" userId="efda762e-901d-408b-befd-9a071afe5357" providerId="ADAL" clId="{0FB2ED04-2BE2-4240-81D2-A72A1E4E4B8C}" dt="2025-01-30T21:49:40.846" v="250" actId="20577"/>
        <pc:sldMkLst>
          <pc:docMk/>
          <pc:sldMk cId="3617604892" sldId="492"/>
        </pc:sldMkLst>
      </pc:sldChg>
    </pc:docChg>
  </pc:docChgLst>
  <pc:docChgLst>
    <pc:chgData name="Lukas Rau" userId="S::lukas.rau@tum.de::a75e0523-20be-4fb9-acc6-1a36dfa716c4" providerId="AD" clId="Web-{7BBEE7AB-A76B-88B1-2E75-FBDBD330C71B}"/>
    <pc:docChg chg="modSld">
      <pc:chgData name="Lukas Rau" userId="S::lukas.rau@tum.de::a75e0523-20be-4fb9-acc6-1a36dfa716c4" providerId="AD" clId="Web-{7BBEE7AB-A76B-88B1-2E75-FBDBD330C71B}" dt="2025-01-28T22:04:08.246" v="3" actId="1076"/>
      <pc:docMkLst>
        <pc:docMk/>
      </pc:docMkLst>
      <pc:sldChg chg="addSp modSp">
        <pc:chgData name="Lukas Rau" userId="S::lukas.rau@tum.de::a75e0523-20be-4fb9-acc6-1a36dfa716c4" providerId="AD" clId="Web-{7BBEE7AB-A76B-88B1-2E75-FBDBD330C71B}" dt="2025-01-28T22:04:08.246" v="3" actId="1076"/>
        <pc:sldMkLst>
          <pc:docMk/>
          <pc:sldMk cId="3939354789" sldId="463"/>
        </pc:sldMkLst>
      </pc:sldChg>
    </pc:docChg>
  </pc:docChgLst>
  <pc:docChgLst>
    <pc:chgData name="Johanna Marx" userId="S::johanna17.marx@tum.de::f7883e6b-b8f5-49bd-97ed-29afbba9d34b" providerId="AD" clId="Web-{4B383F4D-838B-42D7-A658-04F19CA6CDDA}"/>
    <pc:docChg chg="addSld modSld modSection">
      <pc:chgData name="Johanna Marx" userId="S::johanna17.marx@tum.de::f7883e6b-b8f5-49bd-97ed-29afbba9d34b" providerId="AD" clId="Web-{4B383F4D-838B-42D7-A658-04F19CA6CDDA}" dt="2024-11-12T13:27:18.757" v="8"/>
      <pc:docMkLst>
        <pc:docMk/>
      </pc:docMkLst>
      <pc:sldChg chg="addSp delSp modSp new">
        <pc:chgData name="Johanna Marx" userId="S::johanna17.marx@tum.de::f7883e6b-b8f5-49bd-97ed-29afbba9d34b" providerId="AD" clId="Web-{4B383F4D-838B-42D7-A658-04F19CA6CDDA}" dt="2024-11-12T13:27:18.757" v="8"/>
        <pc:sldMkLst>
          <pc:docMk/>
          <pc:sldMk cId="2426590716" sldId="384"/>
        </pc:sldMkLst>
      </pc:sldChg>
    </pc:docChg>
  </pc:docChgLst>
  <pc:docChgLst>
    <pc:chgData name="Sefa Sert" userId="efd7ad94-999b-4a47-9386-fda6558aa00c" providerId="ADAL" clId="{B752BB18-B4A2-4C12-A748-B27C67D17120}"/>
    <pc:docChg chg="undo redo custSel addSld delSld modSld sldOrd modSection">
      <pc:chgData name="Sefa Sert" userId="efd7ad94-999b-4a47-9386-fda6558aa00c" providerId="ADAL" clId="{B752BB18-B4A2-4C12-A748-B27C67D17120}" dt="2024-07-17T00:36:53.980" v="4397" actId="1035"/>
      <pc:docMkLst>
        <pc:docMk/>
      </pc:docMkLst>
      <pc:sldChg chg="modSp mod">
        <pc:chgData name="Sefa Sert" userId="efd7ad94-999b-4a47-9386-fda6558aa00c" providerId="ADAL" clId="{B752BB18-B4A2-4C12-A748-B27C67D17120}" dt="2024-07-16T21:38:18.846" v="686" actId="1076"/>
        <pc:sldMkLst>
          <pc:docMk/>
          <pc:sldMk cId="2740505906" sldId="343"/>
        </pc:sldMkLst>
      </pc:sldChg>
      <pc:sldChg chg="addSp delSp modSp mod">
        <pc:chgData name="Sefa Sert" userId="efd7ad94-999b-4a47-9386-fda6558aa00c" providerId="ADAL" clId="{B752BB18-B4A2-4C12-A748-B27C67D17120}" dt="2024-07-16T21:43:19.102" v="794" actId="1076"/>
        <pc:sldMkLst>
          <pc:docMk/>
          <pc:sldMk cId="4291341608" sldId="344"/>
        </pc:sldMkLst>
      </pc:sldChg>
      <pc:sldChg chg="addSp delSp modSp mod">
        <pc:chgData name="Sefa Sert" userId="efd7ad94-999b-4a47-9386-fda6558aa00c" providerId="ADAL" clId="{B752BB18-B4A2-4C12-A748-B27C67D17120}" dt="2024-07-16T21:43:51.557" v="827" actId="1035"/>
        <pc:sldMkLst>
          <pc:docMk/>
          <pc:sldMk cId="2497767716" sldId="345"/>
        </pc:sldMkLst>
      </pc:sldChg>
      <pc:sldChg chg="addSp delSp modSp del mod">
        <pc:chgData name="Sefa Sert" userId="efd7ad94-999b-4a47-9386-fda6558aa00c" providerId="ADAL" clId="{B752BB18-B4A2-4C12-A748-B27C67D17120}" dt="2024-07-16T21:42:41.926" v="790" actId="47"/>
        <pc:sldMkLst>
          <pc:docMk/>
          <pc:sldMk cId="386974616" sldId="346"/>
        </pc:sldMkLst>
      </pc:sldChg>
      <pc:sldChg chg="del">
        <pc:chgData name="Sefa Sert" userId="efd7ad94-999b-4a47-9386-fda6558aa00c" providerId="ADAL" clId="{B752BB18-B4A2-4C12-A748-B27C67D17120}" dt="2024-07-16T21:46:19.411" v="900" actId="47"/>
        <pc:sldMkLst>
          <pc:docMk/>
          <pc:sldMk cId="3719124343" sldId="347"/>
        </pc:sldMkLst>
      </pc:sldChg>
      <pc:sldChg chg="modSp mod">
        <pc:chgData name="Sefa Sert" userId="efd7ad94-999b-4a47-9386-fda6558aa00c" providerId="ADAL" clId="{B752BB18-B4A2-4C12-A748-B27C67D17120}" dt="2024-07-16T21:53:59.071" v="1032" actId="14100"/>
        <pc:sldMkLst>
          <pc:docMk/>
          <pc:sldMk cId="1464927690" sldId="348"/>
        </pc:sldMkLst>
      </pc:sldChg>
      <pc:sldChg chg="addSp delSp modSp mod ord">
        <pc:chgData name="Sefa Sert" userId="efd7ad94-999b-4a47-9386-fda6558aa00c" providerId="ADAL" clId="{B752BB18-B4A2-4C12-A748-B27C67D17120}" dt="2024-07-16T23:55:25.883" v="3586" actId="1036"/>
        <pc:sldMkLst>
          <pc:docMk/>
          <pc:sldMk cId="1933968534" sldId="349"/>
        </pc:sldMkLst>
      </pc:sldChg>
      <pc:sldChg chg="addSp delSp modSp mod">
        <pc:chgData name="Sefa Sert" userId="efd7ad94-999b-4a47-9386-fda6558aa00c" providerId="ADAL" clId="{B752BB18-B4A2-4C12-A748-B27C67D17120}" dt="2024-07-16T22:38:39.512" v="2297" actId="14734"/>
        <pc:sldMkLst>
          <pc:docMk/>
          <pc:sldMk cId="284084864" sldId="350"/>
        </pc:sldMkLst>
      </pc:sldChg>
      <pc:sldChg chg="addSp delSp modSp add del mod">
        <pc:chgData name="Sefa Sert" userId="efd7ad94-999b-4a47-9386-fda6558aa00c" providerId="ADAL" clId="{B752BB18-B4A2-4C12-A748-B27C67D17120}" dt="2024-07-16T22:12:07.556" v="1696" actId="14734"/>
        <pc:sldMkLst>
          <pc:docMk/>
          <pc:sldMk cId="736897047" sldId="355"/>
        </pc:sldMkLst>
      </pc:sldChg>
      <pc:sldChg chg="addSp delSp modSp add mod">
        <pc:chgData name="Sefa Sert" userId="efd7ad94-999b-4a47-9386-fda6558aa00c" providerId="ADAL" clId="{B752BB18-B4A2-4C12-A748-B27C67D17120}" dt="2024-07-16T22:59:57.917" v="2786" actId="20577"/>
        <pc:sldMkLst>
          <pc:docMk/>
          <pc:sldMk cId="828749288" sldId="356"/>
        </pc:sldMkLst>
      </pc:sldChg>
      <pc:sldChg chg="addSp delSp modSp add mod">
        <pc:chgData name="Sefa Sert" userId="efd7ad94-999b-4a47-9386-fda6558aa00c" providerId="ADAL" clId="{B752BB18-B4A2-4C12-A748-B27C67D17120}" dt="2024-07-16T23:14:40.415" v="3257" actId="1076"/>
        <pc:sldMkLst>
          <pc:docMk/>
          <pc:sldMk cId="1051582617" sldId="357"/>
        </pc:sldMkLst>
      </pc:sldChg>
      <pc:sldChg chg="new del">
        <pc:chgData name="Sefa Sert" userId="efd7ad94-999b-4a47-9386-fda6558aa00c" providerId="ADAL" clId="{B752BB18-B4A2-4C12-A748-B27C67D17120}" dt="2024-07-17T00:18:28.750" v="4156" actId="47"/>
        <pc:sldMkLst>
          <pc:docMk/>
          <pc:sldMk cId="2468068181" sldId="358"/>
        </pc:sldMkLst>
      </pc:sldChg>
      <pc:sldChg chg="addSp delSp modSp add mod ord">
        <pc:chgData name="Sefa Sert" userId="efd7ad94-999b-4a47-9386-fda6558aa00c" providerId="ADAL" clId="{B752BB18-B4A2-4C12-A748-B27C67D17120}" dt="2024-07-16T23:29:17.527" v="3424" actId="1076"/>
        <pc:sldMkLst>
          <pc:docMk/>
          <pc:sldMk cId="284211673" sldId="359"/>
        </pc:sldMkLst>
      </pc:sldChg>
      <pc:sldChg chg="addSp delSp modSp add mod ord">
        <pc:chgData name="Sefa Sert" userId="efd7ad94-999b-4a47-9386-fda6558aa00c" providerId="ADAL" clId="{B752BB18-B4A2-4C12-A748-B27C67D17120}" dt="2024-07-17T00:01:28.224" v="3592" actId="1076"/>
        <pc:sldMkLst>
          <pc:docMk/>
          <pc:sldMk cId="2478495603" sldId="360"/>
        </pc:sldMkLst>
      </pc:sldChg>
      <pc:sldChg chg="addSp delSp modSp add mod">
        <pc:chgData name="Sefa Sert" userId="efd7ad94-999b-4a47-9386-fda6558aa00c" providerId="ADAL" clId="{B752BB18-B4A2-4C12-A748-B27C67D17120}" dt="2024-07-16T23:18:27.531" v="3405" actId="1035"/>
        <pc:sldMkLst>
          <pc:docMk/>
          <pc:sldMk cId="2305601738" sldId="361"/>
        </pc:sldMkLst>
      </pc:sldChg>
      <pc:sldChg chg="addSp delSp modSp add mod">
        <pc:chgData name="Sefa Sert" userId="efd7ad94-999b-4a47-9386-fda6558aa00c" providerId="ADAL" clId="{B752BB18-B4A2-4C12-A748-B27C67D17120}" dt="2024-07-17T00:31:07.657" v="4259" actId="14100"/>
        <pc:sldMkLst>
          <pc:docMk/>
          <pc:sldMk cId="3347662735" sldId="362"/>
        </pc:sldMkLst>
      </pc:sldChg>
      <pc:sldChg chg="addSp delSp modSp add mod">
        <pc:chgData name="Sefa Sert" userId="efd7ad94-999b-4a47-9386-fda6558aa00c" providerId="ADAL" clId="{B752BB18-B4A2-4C12-A748-B27C67D17120}" dt="2024-07-17T00:31:17.360" v="4269" actId="20577"/>
        <pc:sldMkLst>
          <pc:docMk/>
          <pc:sldMk cId="1343127239" sldId="363"/>
        </pc:sldMkLst>
      </pc:sldChg>
      <pc:sldChg chg="addSp delSp modSp add mod ord">
        <pc:chgData name="Sefa Sert" userId="efd7ad94-999b-4a47-9386-fda6558aa00c" providerId="ADAL" clId="{B752BB18-B4A2-4C12-A748-B27C67D17120}" dt="2024-07-17T00:36:46.783" v="4393" actId="1035"/>
        <pc:sldMkLst>
          <pc:docMk/>
          <pc:sldMk cId="4283035542" sldId="364"/>
        </pc:sldMkLst>
      </pc:sldChg>
      <pc:sldChg chg="addSp delSp modSp add mod">
        <pc:chgData name="Sefa Sert" userId="efd7ad94-999b-4a47-9386-fda6558aa00c" providerId="ADAL" clId="{B752BB18-B4A2-4C12-A748-B27C67D17120}" dt="2024-07-17T00:36:53.980" v="4397" actId="1035"/>
        <pc:sldMkLst>
          <pc:docMk/>
          <pc:sldMk cId="3128357680" sldId="365"/>
        </pc:sldMkLst>
      </pc:sldChg>
    </pc:docChg>
  </pc:docChgLst>
  <pc:docChgLst>
    <pc:chgData name="Antje-Lina Weber" userId="S::antje-lina.weber@tum.de::9f4ef15c-448f-435b-bcfd-c1b593e81006" providerId="AD" clId="Web-{27E3A56B-4449-52FB-F688-FB8E053DD7EF}"/>
    <pc:docChg chg="mod">
      <pc:chgData name="Antje-Lina Weber" userId="S::antje-lina.weber@tum.de::9f4ef15c-448f-435b-bcfd-c1b593e81006" providerId="AD" clId="Web-{27E3A56B-4449-52FB-F688-FB8E053DD7EF}" dt="2024-07-15T18:41:42.160" v="1"/>
      <pc:docMkLst>
        <pc:docMk/>
      </pc:docMkLst>
      <pc:sldChg chg="addCm">
        <pc:chgData name="Antje-Lina Weber" userId="S::antje-lina.weber@tum.de::9f4ef15c-448f-435b-bcfd-c1b593e81006" providerId="AD" clId="Web-{27E3A56B-4449-52FB-F688-FB8E053DD7EF}" dt="2024-07-15T18:41:42.160" v="1"/>
        <pc:sldMkLst>
          <pc:docMk/>
          <pc:sldMk cId="396498426" sldId="337"/>
        </pc:sldMkLst>
        <pc:extLst>
          <p:ext xmlns:p="http://schemas.openxmlformats.org/presentationml/2006/main" uri="{D6D511B9-2390-475A-947B-AFAB55BFBCF1}">
            <pc226:cmChg xmlns:pc226="http://schemas.microsoft.com/office/powerpoint/2022/06/main/command" chg="add">
              <pc226:chgData name="Antje-Lina Weber" userId="S::antje-lina.weber@tum.de::9f4ef15c-448f-435b-bcfd-c1b593e81006" providerId="AD" clId="Web-{27E3A56B-4449-52FB-F688-FB8E053DD7EF}" dt="2024-07-15T18:41:42.160" v="1"/>
              <pc2:cmMkLst xmlns:pc2="http://schemas.microsoft.com/office/powerpoint/2019/9/main/command">
                <pc:docMk/>
                <pc:sldMk cId="396498426" sldId="337"/>
                <pc2:cmMk id="{C57483AC-610D-4BBE-BA9C-10DFEA360C5F}"/>
              </pc2:cmMkLst>
            </pc226:cmChg>
          </p:ext>
        </pc:extLst>
      </pc:sldChg>
    </pc:docChg>
  </pc:docChgLst>
  <pc:docChgLst>
    <pc:chgData name="Johanna Marx" userId="f7883e6b-b8f5-49bd-97ed-29afbba9d34b" providerId="ADAL" clId="{23286D06-AD45-4D38-857B-7BADCAD0197E}"/>
    <pc:docChg chg="undo custSel delSld modSld addSection delSection modSection">
      <pc:chgData name="Johanna Marx" userId="f7883e6b-b8f5-49bd-97ed-29afbba9d34b" providerId="ADAL" clId="{23286D06-AD45-4D38-857B-7BADCAD0197E}" dt="2024-11-05T10:00:27.021" v="564" actId="5793"/>
      <pc:docMkLst>
        <pc:docMk/>
      </pc:docMkLst>
      <pc:sldChg chg="modSp mod">
        <pc:chgData name="Johanna Marx" userId="f7883e6b-b8f5-49bd-97ed-29afbba9d34b" providerId="ADAL" clId="{23286D06-AD45-4D38-857B-7BADCAD0197E}" dt="2024-11-05T10:00:18.739" v="557" actId="20577"/>
        <pc:sldMkLst>
          <pc:docMk/>
          <pc:sldMk cId="2457093950" sldId="281"/>
        </pc:sldMkLst>
      </pc:sldChg>
      <pc:sldChg chg="addSp modSp mod">
        <pc:chgData name="Johanna Marx" userId="f7883e6b-b8f5-49bd-97ed-29afbba9d34b" providerId="ADAL" clId="{23286D06-AD45-4D38-857B-7BADCAD0197E}" dt="2024-11-05T09:55:58.638" v="296" actId="1076"/>
        <pc:sldMkLst>
          <pc:docMk/>
          <pc:sldMk cId="1601966315" sldId="285"/>
        </pc:sldMkLst>
      </pc:sldChg>
      <pc:sldChg chg="delSp modSp mod">
        <pc:chgData name="Johanna Marx" userId="f7883e6b-b8f5-49bd-97ed-29afbba9d34b" providerId="ADAL" clId="{23286D06-AD45-4D38-857B-7BADCAD0197E}" dt="2024-11-05T09:54:46.812" v="106" actId="478"/>
        <pc:sldMkLst>
          <pc:docMk/>
          <pc:sldMk cId="3573279774" sldId="286"/>
        </pc:sldMkLst>
      </pc:sldChg>
      <pc:sldChg chg="del">
        <pc:chgData name="Johanna Marx" userId="f7883e6b-b8f5-49bd-97ed-29afbba9d34b" providerId="ADAL" clId="{23286D06-AD45-4D38-857B-7BADCAD0197E}" dt="2024-11-05T09:49:49.941" v="3" actId="47"/>
        <pc:sldMkLst>
          <pc:docMk/>
          <pc:sldMk cId="3553033900" sldId="287"/>
        </pc:sldMkLst>
      </pc:sldChg>
      <pc:sldChg chg="del">
        <pc:chgData name="Johanna Marx" userId="f7883e6b-b8f5-49bd-97ed-29afbba9d34b" providerId="ADAL" clId="{23286D06-AD45-4D38-857B-7BADCAD0197E}" dt="2024-11-05T09:49:57.748" v="5" actId="47"/>
        <pc:sldMkLst>
          <pc:docMk/>
          <pc:sldMk cId="3909716140" sldId="289"/>
        </pc:sldMkLst>
      </pc:sldChg>
      <pc:sldChg chg="del">
        <pc:chgData name="Johanna Marx" userId="f7883e6b-b8f5-49bd-97ed-29afbba9d34b" providerId="ADAL" clId="{23286D06-AD45-4D38-857B-7BADCAD0197E}" dt="2024-11-05T09:51:18.994" v="8" actId="47"/>
        <pc:sldMkLst>
          <pc:docMk/>
          <pc:sldMk cId="1836807439" sldId="290"/>
        </pc:sldMkLst>
      </pc:sldChg>
      <pc:sldChg chg="del">
        <pc:chgData name="Johanna Marx" userId="f7883e6b-b8f5-49bd-97ed-29afbba9d34b" providerId="ADAL" clId="{23286D06-AD45-4D38-857B-7BADCAD0197E}" dt="2024-11-05T09:51:30.231" v="10" actId="47"/>
        <pc:sldMkLst>
          <pc:docMk/>
          <pc:sldMk cId="3118018366" sldId="291"/>
        </pc:sldMkLst>
      </pc:sldChg>
      <pc:sldChg chg="del">
        <pc:chgData name="Johanna Marx" userId="f7883e6b-b8f5-49bd-97ed-29afbba9d34b" providerId="ADAL" clId="{23286D06-AD45-4D38-857B-7BADCAD0197E}" dt="2024-11-05T09:51:30.231" v="10" actId="47"/>
        <pc:sldMkLst>
          <pc:docMk/>
          <pc:sldMk cId="3807836379" sldId="292"/>
        </pc:sldMkLst>
      </pc:sldChg>
      <pc:sldChg chg="del">
        <pc:chgData name="Johanna Marx" userId="f7883e6b-b8f5-49bd-97ed-29afbba9d34b" providerId="ADAL" clId="{23286D06-AD45-4D38-857B-7BADCAD0197E}" dt="2024-11-05T09:51:30.231" v="10" actId="47"/>
        <pc:sldMkLst>
          <pc:docMk/>
          <pc:sldMk cId="3642159981" sldId="294"/>
        </pc:sldMkLst>
      </pc:sldChg>
      <pc:sldChg chg="del">
        <pc:chgData name="Johanna Marx" userId="f7883e6b-b8f5-49bd-97ed-29afbba9d34b" providerId="ADAL" clId="{23286D06-AD45-4D38-857B-7BADCAD0197E}" dt="2024-11-05T09:51:47.765" v="12" actId="47"/>
        <pc:sldMkLst>
          <pc:docMk/>
          <pc:sldMk cId="1360738081" sldId="295"/>
        </pc:sldMkLst>
      </pc:sldChg>
      <pc:sldChg chg="del">
        <pc:chgData name="Johanna Marx" userId="f7883e6b-b8f5-49bd-97ed-29afbba9d34b" providerId="ADAL" clId="{23286D06-AD45-4D38-857B-7BADCAD0197E}" dt="2024-11-05T09:53:04.370" v="31" actId="18676"/>
        <pc:sldMkLst>
          <pc:docMk/>
          <pc:sldMk cId="1997358788" sldId="297"/>
        </pc:sldMkLst>
      </pc:sldChg>
      <pc:sldChg chg="del">
        <pc:chgData name="Johanna Marx" userId="f7883e6b-b8f5-49bd-97ed-29afbba9d34b" providerId="ADAL" clId="{23286D06-AD45-4D38-857B-7BADCAD0197E}" dt="2024-11-05T09:53:02.028" v="30" actId="18676"/>
        <pc:sldMkLst>
          <pc:docMk/>
          <pc:sldMk cId="2451751709" sldId="298"/>
        </pc:sldMkLst>
      </pc:sldChg>
      <pc:sldChg chg="del">
        <pc:chgData name="Johanna Marx" userId="f7883e6b-b8f5-49bd-97ed-29afbba9d34b" providerId="ADAL" clId="{23286D06-AD45-4D38-857B-7BADCAD0197E}" dt="2024-11-05T09:52:59.530" v="29" actId="18676"/>
        <pc:sldMkLst>
          <pc:docMk/>
          <pc:sldMk cId="3394550179" sldId="299"/>
        </pc:sldMkLst>
      </pc:sldChg>
      <pc:sldChg chg="del">
        <pc:chgData name="Johanna Marx" userId="f7883e6b-b8f5-49bd-97ed-29afbba9d34b" providerId="ADAL" clId="{23286D06-AD45-4D38-857B-7BADCAD0197E}" dt="2024-11-05T09:52:54.239" v="27" actId="18676"/>
        <pc:sldMkLst>
          <pc:docMk/>
          <pc:sldMk cId="3143837598" sldId="300"/>
        </pc:sldMkLst>
      </pc:sldChg>
      <pc:sldChg chg="addSp delSp modSp mod">
        <pc:chgData name="Johanna Marx" userId="f7883e6b-b8f5-49bd-97ed-29afbba9d34b" providerId="ADAL" clId="{23286D06-AD45-4D38-857B-7BADCAD0197E}" dt="2024-11-05T09:57:56.340" v="363" actId="20577"/>
        <pc:sldMkLst>
          <pc:docMk/>
          <pc:sldMk cId="855508414" sldId="301"/>
        </pc:sldMkLst>
      </pc:sldChg>
      <pc:sldChg chg="del">
        <pc:chgData name="Johanna Marx" userId="f7883e6b-b8f5-49bd-97ed-29afbba9d34b" providerId="ADAL" clId="{23286D06-AD45-4D38-857B-7BADCAD0197E}" dt="2024-11-05T09:56:18.085" v="302" actId="47"/>
        <pc:sldMkLst>
          <pc:docMk/>
          <pc:sldMk cId="2738800295" sldId="302"/>
        </pc:sldMkLst>
      </pc:sldChg>
      <pc:sldChg chg="modSp mod">
        <pc:chgData name="Johanna Marx" userId="f7883e6b-b8f5-49bd-97ed-29afbba9d34b" providerId="ADAL" clId="{23286D06-AD45-4D38-857B-7BADCAD0197E}" dt="2024-11-05T09:56:15.839" v="301" actId="5793"/>
        <pc:sldMkLst>
          <pc:docMk/>
          <pc:sldMk cId="1608053785" sldId="303"/>
        </pc:sldMkLst>
      </pc:sldChg>
      <pc:sldChg chg="del">
        <pc:chgData name="Johanna Marx" userId="f7883e6b-b8f5-49bd-97ed-29afbba9d34b" providerId="ADAL" clId="{23286D06-AD45-4D38-857B-7BADCAD0197E}" dt="2024-11-05T09:49:55.425" v="4" actId="47"/>
        <pc:sldMkLst>
          <pc:docMk/>
          <pc:sldMk cId="2977954321" sldId="304"/>
        </pc:sldMkLst>
      </pc:sldChg>
      <pc:sldChg chg="del">
        <pc:chgData name="Johanna Marx" userId="f7883e6b-b8f5-49bd-97ed-29afbba9d34b" providerId="ADAL" clId="{23286D06-AD45-4D38-857B-7BADCAD0197E}" dt="2024-11-05T09:51:48.568" v="13" actId="47"/>
        <pc:sldMkLst>
          <pc:docMk/>
          <pc:sldMk cId="1340192637" sldId="305"/>
        </pc:sldMkLst>
      </pc:sldChg>
      <pc:sldChg chg="del">
        <pc:chgData name="Johanna Marx" userId="f7883e6b-b8f5-49bd-97ed-29afbba9d34b" providerId="ADAL" clId="{23286D06-AD45-4D38-857B-7BADCAD0197E}" dt="2024-11-05T09:51:56.656" v="16" actId="47"/>
        <pc:sldMkLst>
          <pc:docMk/>
          <pc:sldMk cId="3109028800" sldId="306"/>
        </pc:sldMkLst>
      </pc:sldChg>
      <pc:sldChg chg="del">
        <pc:chgData name="Johanna Marx" userId="f7883e6b-b8f5-49bd-97ed-29afbba9d34b" providerId="ADAL" clId="{23286D06-AD45-4D38-857B-7BADCAD0197E}" dt="2024-11-05T09:58:48.390" v="456" actId="47"/>
        <pc:sldMkLst>
          <pc:docMk/>
          <pc:sldMk cId="656948936" sldId="307"/>
        </pc:sldMkLst>
      </pc:sldChg>
      <pc:sldChg chg="del">
        <pc:chgData name="Johanna Marx" userId="f7883e6b-b8f5-49bd-97ed-29afbba9d34b" providerId="ADAL" clId="{23286D06-AD45-4D38-857B-7BADCAD0197E}" dt="2024-11-05T09:51:57.694" v="17" actId="47"/>
        <pc:sldMkLst>
          <pc:docMk/>
          <pc:sldMk cId="2790215641" sldId="308"/>
        </pc:sldMkLst>
      </pc:sldChg>
      <pc:sldChg chg="del">
        <pc:chgData name="Johanna Marx" userId="f7883e6b-b8f5-49bd-97ed-29afbba9d34b" providerId="ADAL" clId="{23286D06-AD45-4D38-857B-7BADCAD0197E}" dt="2024-11-05T09:52:04.379" v="18" actId="47"/>
        <pc:sldMkLst>
          <pc:docMk/>
          <pc:sldMk cId="3944894673" sldId="309"/>
        </pc:sldMkLst>
      </pc:sldChg>
      <pc:sldChg chg="modSp mod">
        <pc:chgData name="Johanna Marx" userId="f7883e6b-b8f5-49bd-97ed-29afbba9d34b" providerId="ADAL" clId="{23286D06-AD45-4D38-857B-7BADCAD0197E}" dt="2024-11-05T09:59:28.312" v="523" actId="5793"/>
        <pc:sldMkLst>
          <pc:docMk/>
          <pc:sldMk cId="4118735400" sldId="311"/>
        </pc:sldMkLst>
      </pc:sldChg>
      <pc:sldChg chg="del">
        <pc:chgData name="Johanna Marx" userId="f7883e6b-b8f5-49bd-97ed-29afbba9d34b" providerId="ADAL" clId="{23286D06-AD45-4D38-857B-7BADCAD0197E}" dt="2024-11-05T09:51:22.245" v="9" actId="47"/>
        <pc:sldMkLst>
          <pc:docMk/>
          <pc:sldMk cId="1054077313" sldId="312"/>
        </pc:sldMkLst>
      </pc:sldChg>
      <pc:sldChg chg="del">
        <pc:chgData name="Johanna Marx" userId="f7883e6b-b8f5-49bd-97ed-29afbba9d34b" providerId="ADAL" clId="{23286D06-AD45-4D38-857B-7BADCAD0197E}" dt="2024-11-05T09:51:30.231" v="10" actId="47"/>
        <pc:sldMkLst>
          <pc:docMk/>
          <pc:sldMk cId="1288072368" sldId="313"/>
        </pc:sldMkLst>
      </pc:sldChg>
      <pc:sldChg chg="del">
        <pc:chgData name="Johanna Marx" userId="f7883e6b-b8f5-49bd-97ed-29afbba9d34b" providerId="ADAL" clId="{23286D06-AD45-4D38-857B-7BADCAD0197E}" dt="2024-11-05T09:52:05.347" v="19" actId="47"/>
        <pc:sldMkLst>
          <pc:docMk/>
          <pc:sldMk cId="767817792" sldId="314"/>
        </pc:sldMkLst>
      </pc:sldChg>
      <pc:sldChg chg="delSp modSp mod">
        <pc:chgData name="Johanna Marx" userId="f7883e6b-b8f5-49bd-97ed-29afbba9d34b" providerId="ADAL" clId="{23286D06-AD45-4D38-857B-7BADCAD0197E}" dt="2024-11-05T09:54:22.806" v="95" actId="478"/>
        <pc:sldMkLst>
          <pc:docMk/>
          <pc:sldMk cId="3420601596" sldId="315"/>
        </pc:sldMkLst>
      </pc:sldChg>
      <pc:sldChg chg="del">
        <pc:chgData name="Johanna Marx" userId="f7883e6b-b8f5-49bd-97ed-29afbba9d34b" providerId="ADAL" clId="{23286D06-AD45-4D38-857B-7BADCAD0197E}" dt="2024-11-05T09:53:07.832" v="32" actId="18676"/>
        <pc:sldMkLst>
          <pc:docMk/>
          <pc:sldMk cId="1126850562" sldId="317"/>
        </pc:sldMkLst>
      </pc:sldChg>
      <pc:sldChg chg="del">
        <pc:chgData name="Johanna Marx" userId="f7883e6b-b8f5-49bd-97ed-29afbba9d34b" providerId="ADAL" clId="{23286D06-AD45-4D38-857B-7BADCAD0197E}" dt="2024-11-05T09:53:04.370" v="31" actId="18676"/>
        <pc:sldMkLst>
          <pc:docMk/>
          <pc:sldMk cId="373550321" sldId="318"/>
        </pc:sldMkLst>
      </pc:sldChg>
      <pc:sldChg chg="del">
        <pc:chgData name="Johanna Marx" userId="f7883e6b-b8f5-49bd-97ed-29afbba9d34b" providerId="ADAL" clId="{23286D06-AD45-4D38-857B-7BADCAD0197E}" dt="2024-11-05T09:53:04.370" v="31" actId="18676"/>
        <pc:sldMkLst>
          <pc:docMk/>
          <pc:sldMk cId="2310605384" sldId="319"/>
        </pc:sldMkLst>
      </pc:sldChg>
      <pc:sldChg chg="del">
        <pc:chgData name="Johanna Marx" userId="f7883e6b-b8f5-49bd-97ed-29afbba9d34b" providerId="ADAL" clId="{23286D06-AD45-4D38-857B-7BADCAD0197E}" dt="2024-11-05T09:53:02.028" v="30" actId="18676"/>
        <pc:sldMkLst>
          <pc:docMk/>
          <pc:sldMk cId="2685171253" sldId="320"/>
        </pc:sldMkLst>
      </pc:sldChg>
      <pc:sldChg chg="del">
        <pc:chgData name="Johanna Marx" userId="f7883e6b-b8f5-49bd-97ed-29afbba9d34b" providerId="ADAL" clId="{23286D06-AD45-4D38-857B-7BADCAD0197E}" dt="2024-11-05T09:53:02.028" v="30" actId="18676"/>
        <pc:sldMkLst>
          <pc:docMk/>
          <pc:sldMk cId="1718109997" sldId="321"/>
        </pc:sldMkLst>
      </pc:sldChg>
      <pc:sldChg chg="del">
        <pc:chgData name="Johanna Marx" userId="f7883e6b-b8f5-49bd-97ed-29afbba9d34b" providerId="ADAL" clId="{23286D06-AD45-4D38-857B-7BADCAD0197E}" dt="2024-11-05T09:53:02.028" v="30" actId="18676"/>
        <pc:sldMkLst>
          <pc:docMk/>
          <pc:sldMk cId="16049607" sldId="322"/>
        </pc:sldMkLst>
      </pc:sldChg>
      <pc:sldChg chg="del">
        <pc:chgData name="Johanna Marx" userId="f7883e6b-b8f5-49bd-97ed-29afbba9d34b" providerId="ADAL" clId="{23286D06-AD45-4D38-857B-7BADCAD0197E}" dt="2024-11-05T09:52:59.530" v="29" actId="18676"/>
        <pc:sldMkLst>
          <pc:docMk/>
          <pc:sldMk cId="1910569066" sldId="323"/>
        </pc:sldMkLst>
      </pc:sldChg>
      <pc:sldChg chg="del">
        <pc:chgData name="Johanna Marx" userId="f7883e6b-b8f5-49bd-97ed-29afbba9d34b" providerId="ADAL" clId="{23286D06-AD45-4D38-857B-7BADCAD0197E}" dt="2024-11-05T09:52:59.530" v="29" actId="18676"/>
        <pc:sldMkLst>
          <pc:docMk/>
          <pc:sldMk cId="2591005778" sldId="324"/>
        </pc:sldMkLst>
      </pc:sldChg>
      <pc:sldChg chg="del">
        <pc:chgData name="Johanna Marx" userId="f7883e6b-b8f5-49bd-97ed-29afbba9d34b" providerId="ADAL" clId="{23286D06-AD45-4D38-857B-7BADCAD0197E}" dt="2024-11-05T09:52:56.993" v="28" actId="18676"/>
        <pc:sldMkLst>
          <pc:docMk/>
          <pc:sldMk cId="3782668847" sldId="325"/>
        </pc:sldMkLst>
      </pc:sldChg>
      <pc:sldChg chg="del">
        <pc:chgData name="Johanna Marx" userId="f7883e6b-b8f5-49bd-97ed-29afbba9d34b" providerId="ADAL" clId="{23286D06-AD45-4D38-857B-7BADCAD0197E}" dt="2024-11-05T09:52:56.993" v="28" actId="18676"/>
        <pc:sldMkLst>
          <pc:docMk/>
          <pc:sldMk cId="4115732553" sldId="326"/>
        </pc:sldMkLst>
      </pc:sldChg>
      <pc:sldChg chg="del">
        <pc:chgData name="Johanna Marx" userId="f7883e6b-b8f5-49bd-97ed-29afbba9d34b" providerId="ADAL" clId="{23286D06-AD45-4D38-857B-7BADCAD0197E}" dt="2024-11-05T09:52:56.993" v="28" actId="18676"/>
        <pc:sldMkLst>
          <pc:docMk/>
          <pc:sldMk cId="2654186392" sldId="327"/>
        </pc:sldMkLst>
      </pc:sldChg>
      <pc:sldChg chg="del">
        <pc:chgData name="Johanna Marx" userId="f7883e6b-b8f5-49bd-97ed-29afbba9d34b" providerId="ADAL" clId="{23286D06-AD45-4D38-857B-7BADCAD0197E}" dt="2024-11-05T09:52:56.993" v="28" actId="18676"/>
        <pc:sldMkLst>
          <pc:docMk/>
          <pc:sldMk cId="915207829" sldId="328"/>
        </pc:sldMkLst>
      </pc:sldChg>
      <pc:sldChg chg="del">
        <pc:chgData name="Johanna Marx" userId="f7883e6b-b8f5-49bd-97ed-29afbba9d34b" providerId="ADAL" clId="{23286D06-AD45-4D38-857B-7BADCAD0197E}" dt="2024-11-05T09:52:45.807" v="25" actId="18676"/>
        <pc:sldMkLst>
          <pc:docMk/>
          <pc:sldMk cId="2059201764" sldId="329"/>
        </pc:sldMkLst>
      </pc:sldChg>
      <pc:sldChg chg="del">
        <pc:chgData name="Johanna Marx" userId="f7883e6b-b8f5-49bd-97ed-29afbba9d34b" providerId="ADAL" clId="{23286D06-AD45-4D38-857B-7BADCAD0197E}" dt="2024-11-05T09:52:45.807" v="25" actId="18676"/>
        <pc:sldMkLst>
          <pc:docMk/>
          <pc:sldMk cId="1263294924" sldId="330"/>
        </pc:sldMkLst>
      </pc:sldChg>
      <pc:sldChg chg="del">
        <pc:chgData name="Johanna Marx" userId="f7883e6b-b8f5-49bd-97ed-29afbba9d34b" providerId="ADAL" clId="{23286D06-AD45-4D38-857B-7BADCAD0197E}" dt="2024-11-05T09:52:41.830" v="24" actId="18676"/>
        <pc:sldMkLst>
          <pc:docMk/>
          <pc:sldMk cId="3545089216" sldId="331"/>
        </pc:sldMkLst>
      </pc:sldChg>
      <pc:sldChg chg="del">
        <pc:chgData name="Johanna Marx" userId="f7883e6b-b8f5-49bd-97ed-29afbba9d34b" providerId="ADAL" clId="{23286D06-AD45-4D38-857B-7BADCAD0197E}" dt="2024-11-05T09:52:41.830" v="24" actId="18676"/>
        <pc:sldMkLst>
          <pc:docMk/>
          <pc:sldMk cId="659666124" sldId="332"/>
        </pc:sldMkLst>
      </pc:sldChg>
      <pc:sldChg chg="del">
        <pc:chgData name="Johanna Marx" userId="f7883e6b-b8f5-49bd-97ed-29afbba9d34b" providerId="ADAL" clId="{23286D06-AD45-4D38-857B-7BADCAD0197E}" dt="2024-11-05T09:52:38.869" v="23" actId="18676"/>
        <pc:sldMkLst>
          <pc:docMk/>
          <pc:sldMk cId="1361510755" sldId="333"/>
        </pc:sldMkLst>
      </pc:sldChg>
      <pc:sldChg chg="del">
        <pc:chgData name="Johanna Marx" userId="f7883e6b-b8f5-49bd-97ed-29afbba9d34b" providerId="ADAL" clId="{23286D06-AD45-4D38-857B-7BADCAD0197E}" dt="2024-11-05T09:53:07.832" v="32" actId="18676"/>
        <pc:sldMkLst>
          <pc:docMk/>
          <pc:sldMk cId="1558425071" sldId="334"/>
        </pc:sldMkLst>
      </pc:sldChg>
      <pc:sldChg chg="delSp modSp mod">
        <pc:chgData name="Johanna Marx" userId="f7883e6b-b8f5-49bd-97ed-29afbba9d34b" providerId="ADAL" clId="{23286D06-AD45-4D38-857B-7BADCAD0197E}" dt="2024-11-05T09:58:18.535" v="455" actId="478"/>
        <pc:sldMkLst>
          <pc:docMk/>
          <pc:sldMk cId="1183542163" sldId="339"/>
        </pc:sldMkLst>
      </pc:sldChg>
      <pc:sldChg chg="del">
        <pc:chgData name="Johanna Marx" userId="f7883e6b-b8f5-49bd-97ed-29afbba9d34b" providerId="ADAL" clId="{23286D06-AD45-4D38-857B-7BADCAD0197E}" dt="2024-11-05T09:58:50.279" v="457" actId="47"/>
        <pc:sldMkLst>
          <pc:docMk/>
          <pc:sldMk cId="1871282574" sldId="340"/>
        </pc:sldMkLst>
      </pc:sldChg>
      <pc:sldChg chg="del">
        <pc:chgData name="Johanna Marx" userId="f7883e6b-b8f5-49bd-97ed-29afbba9d34b" providerId="ADAL" clId="{23286D06-AD45-4D38-857B-7BADCAD0197E}" dt="2024-11-05T09:52:35.242" v="22" actId="18676"/>
        <pc:sldMkLst>
          <pc:docMk/>
          <pc:sldMk cId="1127244407" sldId="341"/>
        </pc:sldMkLst>
      </pc:sldChg>
      <pc:sldChg chg="del">
        <pc:chgData name="Johanna Marx" userId="f7883e6b-b8f5-49bd-97ed-29afbba9d34b" providerId="ADAL" clId="{23286D06-AD45-4D38-857B-7BADCAD0197E}" dt="2024-11-05T09:52:35.242" v="22" actId="18676"/>
        <pc:sldMkLst>
          <pc:docMk/>
          <pc:sldMk cId="2740505906" sldId="343"/>
        </pc:sldMkLst>
      </pc:sldChg>
      <pc:sldChg chg="del">
        <pc:chgData name="Johanna Marx" userId="f7883e6b-b8f5-49bd-97ed-29afbba9d34b" providerId="ADAL" clId="{23286D06-AD45-4D38-857B-7BADCAD0197E}" dt="2024-11-05T09:52:35.242" v="22" actId="18676"/>
        <pc:sldMkLst>
          <pc:docMk/>
          <pc:sldMk cId="4291341608" sldId="344"/>
        </pc:sldMkLst>
      </pc:sldChg>
      <pc:sldChg chg="del">
        <pc:chgData name="Johanna Marx" userId="f7883e6b-b8f5-49bd-97ed-29afbba9d34b" providerId="ADAL" clId="{23286D06-AD45-4D38-857B-7BADCAD0197E}" dt="2024-11-05T09:52:35.242" v="22" actId="18676"/>
        <pc:sldMkLst>
          <pc:docMk/>
          <pc:sldMk cId="2497767716" sldId="345"/>
        </pc:sldMkLst>
      </pc:sldChg>
      <pc:sldChg chg="del">
        <pc:chgData name="Johanna Marx" userId="f7883e6b-b8f5-49bd-97ed-29afbba9d34b" providerId="ADAL" clId="{23286D06-AD45-4D38-857B-7BADCAD0197E}" dt="2024-11-05T09:52:35.242" v="22" actId="18676"/>
        <pc:sldMkLst>
          <pc:docMk/>
          <pc:sldMk cId="1464927690" sldId="348"/>
        </pc:sldMkLst>
      </pc:sldChg>
      <pc:sldChg chg="del">
        <pc:chgData name="Johanna Marx" userId="f7883e6b-b8f5-49bd-97ed-29afbba9d34b" providerId="ADAL" clId="{23286D06-AD45-4D38-857B-7BADCAD0197E}" dt="2024-11-05T09:52:35.242" v="22" actId="18676"/>
        <pc:sldMkLst>
          <pc:docMk/>
          <pc:sldMk cId="1933968534" sldId="349"/>
        </pc:sldMkLst>
      </pc:sldChg>
      <pc:sldChg chg="del">
        <pc:chgData name="Johanna Marx" userId="f7883e6b-b8f5-49bd-97ed-29afbba9d34b" providerId="ADAL" clId="{23286D06-AD45-4D38-857B-7BADCAD0197E}" dt="2024-11-05T09:52:35.242" v="22" actId="18676"/>
        <pc:sldMkLst>
          <pc:docMk/>
          <pc:sldMk cId="284084864" sldId="350"/>
        </pc:sldMkLst>
      </pc:sldChg>
      <pc:sldChg chg="del">
        <pc:chgData name="Johanna Marx" userId="f7883e6b-b8f5-49bd-97ed-29afbba9d34b" providerId="ADAL" clId="{23286D06-AD45-4D38-857B-7BADCAD0197E}" dt="2024-11-05T09:52:45.807" v="25" actId="18676"/>
        <pc:sldMkLst>
          <pc:docMk/>
          <pc:sldMk cId="2797522874" sldId="351"/>
        </pc:sldMkLst>
      </pc:sldChg>
      <pc:sldChg chg="del">
        <pc:chgData name="Johanna Marx" userId="f7883e6b-b8f5-49bd-97ed-29afbba9d34b" providerId="ADAL" clId="{23286D06-AD45-4D38-857B-7BADCAD0197E}" dt="2024-11-05T09:52:54.239" v="27" actId="18676"/>
        <pc:sldMkLst>
          <pc:docMk/>
          <pc:sldMk cId="160204436" sldId="352"/>
        </pc:sldMkLst>
      </pc:sldChg>
      <pc:sldChg chg="del">
        <pc:chgData name="Johanna Marx" userId="f7883e6b-b8f5-49bd-97ed-29afbba9d34b" providerId="ADAL" clId="{23286D06-AD45-4D38-857B-7BADCAD0197E}" dt="2024-11-05T09:52:51.724" v="26" actId="18676"/>
        <pc:sldMkLst>
          <pc:docMk/>
          <pc:sldMk cId="3237785027" sldId="354"/>
        </pc:sldMkLst>
      </pc:sldChg>
      <pc:sldChg chg="del">
        <pc:chgData name="Johanna Marx" userId="f7883e6b-b8f5-49bd-97ed-29afbba9d34b" providerId="ADAL" clId="{23286D06-AD45-4D38-857B-7BADCAD0197E}" dt="2024-11-05T09:52:35.242" v="22" actId="18676"/>
        <pc:sldMkLst>
          <pc:docMk/>
          <pc:sldMk cId="736897047" sldId="355"/>
        </pc:sldMkLst>
      </pc:sldChg>
      <pc:sldChg chg="del">
        <pc:chgData name="Johanna Marx" userId="f7883e6b-b8f5-49bd-97ed-29afbba9d34b" providerId="ADAL" clId="{23286D06-AD45-4D38-857B-7BADCAD0197E}" dt="2024-11-05T09:52:35.242" v="22" actId="18676"/>
        <pc:sldMkLst>
          <pc:docMk/>
          <pc:sldMk cId="828749288" sldId="356"/>
        </pc:sldMkLst>
      </pc:sldChg>
      <pc:sldChg chg="del">
        <pc:chgData name="Johanna Marx" userId="f7883e6b-b8f5-49bd-97ed-29afbba9d34b" providerId="ADAL" clId="{23286D06-AD45-4D38-857B-7BADCAD0197E}" dt="2024-11-05T09:52:35.242" v="22" actId="18676"/>
        <pc:sldMkLst>
          <pc:docMk/>
          <pc:sldMk cId="1051582617" sldId="357"/>
        </pc:sldMkLst>
      </pc:sldChg>
      <pc:sldChg chg="del">
        <pc:chgData name="Johanna Marx" userId="f7883e6b-b8f5-49bd-97ed-29afbba9d34b" providerId="ADAL" clId="{23286D06-AD45-4D38-857B-7BADCAD0197E}" dt="2024-11-05T09:52:35.242" v="22" actId="18676"/>
        <pc:sldMkLst>
          <pc:docMk/>
          <pc:sldMk cId="284211673" sldId="359"/>
        </pc:sldMkLst>
      </pc:sldChg>
      <pc:sldChg chg="del">
        <pc:chgData name="Johanna Marx" userId="f7883e6b-b8f5-49bd-97ed-29afbba9d34b" providerId="ADAL" clId="{23286D06-AD45-4D38-857B-7BADCAD0197E}" dt="2024-11-05T09:52:35.242" v="22" actId="18676"/>
        <pc:sldMkLst>
          <pc:docMk/>
          <pc:sldMk cId="2478495603" sldId="360"/>
        </pc:sldMkLst>
      </pc:sldChg>
      <pc:sldChg chg="del">
        <pc:chgData name="Johanna Marx" userId="f7883e6b-b8f5-49bd-97ed-29afbba9d34b" providerId="ADAL" clId="{23286D06-AD45-4D38-857B-7BADCAD0197E}" dt="2024-11-05T09:52:35.242" v="22" actId="18676"/>
        <pc:sldMkLst>
          <pc:docMk/>
          <pc:sldMk cId="2305601738" sldId="361"/>
        </pc:sldMkLst>
      </pc:sldChg>
      <pc:sldChg chg="del">
        <pc:chgData name="Johanna Marx" userId="f7883e6b-b8f5-49bd-97ed-29afbba9d34b" providerId="ADAL" clId="{23286D06-AD45-4D38-857B-7BADCAD0197E}" dt="2024-11-05T09:52:35.242" v="22" actId="18676"/>
        <pc:sldMkLst>
          <pc:docMk/>
          <pc:sldMk cId="3347662735" sldId="362"/>
        </pc:sldMkLst>
      </pc:sldChg>
      <pc:sldChg chg="del">
        <pc:chgData name="Johanna Marx" userId="f7883e6b-b8f5-49bd-97ed-29afbba9d34b" providerId="ADAL" clId="{23286D06-AD45-4D38-857B-7BADCAD0197E}" dt="2024-11-05T09:52:35.242" v="22" actId="18676"/>
        <pc:sldMkLst>
          <pc:docMk/>
          <pc:sldMk cId="1343127239" sldId="363"/>
        </pc:sldMkLst>
      </pc:sldChg>
      <pc:sldChg chg="del">
        <pc:chgData name="Johanna Marx" userId="f7883e6b-b8f5-49bd-97ed-29afbba9d34b" providerId="ADAL" clId="{23286D06-AD45-4D38-857B-7BADCAD0197E}" dt="2024-11-05T09:52:35.242" v="22" actId="18676"/>
        <pc:sldMkLst>
          <pc:docMk/>
          <pc:sldMk cId="4283035542" sldId="364"/>
        </pc:sldMkLst>
      </pc:sldChg>
      <pc:sldChg chg="del">
        <pc:chgData name="Johanna Marx" userId="f7883e6b-b8f5-49bd-97ed-29afbba9d34b" providerId="ADAL" clId="{23286D06-AD45-4D38-857B-7BADCAD0197E}" dt="2024-11-05T09:52:35.242" v="22" actId="18676"/>
        <pc:sldMkLst>
          <pc:docMk/>
          <pc:sldMk cId="3128357680" sldId="365"/>
        </pc:sldMkLst>
      </pc:sldChg>
      <pc:sldChg chg="del">
        <pc:chgData name="Johanna Marx" userId="f7883e6b-b8f5-49bd-97ed-29afbba9d34b" providerId="ADAL" clId="{23286D06-AD45-4D38-857B-7BADCAD0197E}" dt="2024-11-05T09:51:16.762" v="7" actId="47"/>
        <pc:sldMkLst>
          <pc:docMk/>
          <pc:sldMk cId="1347835055" sldId="366"/>
        </pc:sldMkLst>
      </pc:sldChg>
      <pc:sldChg chg="del">
        <pc:chgData name="Johanna Marx" userId="f7883e6b-b8f5-49bd-97ed-29afbba9d34b" providerId="ADAL" clId="{23286D06-AD45-4D38-857B-7BADCAD0197E}" dt="2024-11-05T09:58:00.302" v="364" actId="47"/>
        <pc:sldMkLst>
          <pc:docMk/>
          <pc:sldMk cId="1662382075" sldId="367"/>
        </pc:sldMkLst>
      </pc:sldChg>
      <pc:sldChg chg="del">
        <pc:chgData name="Johanna Marx" userId="f7883e6b-b8f5-49bd-97ed-29afbba9d34b" providerId="ADAL" clId="{23286D06-AD45-4D38-857B-7BADCAD0197E}" dt="2024-11-05T09:52:45.807" v="25" actId="18676"/>
        <pc:sldMkLst>
          <pc:docMk/>
          <pc:sldMk cId="2573843723" sldId="369"/>
        </pc:sldMkLst>
      </pc:sldChg>
      <pc:sldChg chg="modSp mod">
        <pc:chgData name="Johanna Marx" userId="f7883e6b-b8f5-49bd-97ed-29afbba9d34b" providerId="ADAL" clId="{23286D06-AD45-4D38-857B-7BADCAD0197E}" dt="2024-11-05T10:00:27.021" v="564" actId="5793"/>
        <pc:sldMkLst>
          <pc:docMk/>
          <pc:sldMk cId="4061445094" sldId="370"/>
        </pc:sldMkLst>
      </pc:sldChg>
      <pc:sldChg chg="del">
        <pc:chgData name="Johanna Marx" userId="f7883e6b-b8f5-49bd-97ed-29afbba9d34b" providerId="ADAL" clId="{23286D06-AD45-4D38-857B-7BADCAD0197E}" dt="2024-11-05T09:50:03.674" v="6" actId="47"/>
        <pc:sldMkLst>
          <pc:docMk/>
          <pc:sldMk cId="1237709550" sldId="374"/>
        </pc:sldMkLst>
      </pc:sldChg>
      <pc:sldChg chg="del">
        <pc:chgData name="Johanna Marx" userId="f7883e6b-b8f5-49bd-97ed-29afbba9d34b" providerId="ADAL" clId="{23286D06-AD45-4D38-857B-7BADCAD0197E}" dt="2024-11-05T09:51:30.231" v="10" actId="47"/>
        <pc:sldMkLst>
          <pc:docMk/>
          <pc:sldMk cId="2849113408" sldId="375"/>
        </pc:sldMkLst>
      </pc:sldChg>
      <pc:sldChg chg="del">
        <pc:chgData name="Johanna Marx" userId="f7883e6b-b8f5-49bd-97ed-29afbba9d34b" providerId="ADAL" clId="{23286D06-AD45-4D38-857B-7BADCAD0197E}" dt="2024-11-05T09:51:49.610" v="14" actId="47"/>
        <pc:sldMkLst>
          <pc:docMk/>
          <pc:sldMk cId="1767982433" sldId="377"/>
        </pc:sldMkLst>
      </pc:sldChg>
      <pc:sldChg chg="del">
        <pc:chgData name="Johanna Marx" userId="f7883e6b-b8f5-49bd-97ed-29afbba9d34b" providerId="ADAL" clId="{23286D06-AD45-4D38-857B-7BADCAD0197E}" dt="2024-11-05T09:58:56.879" v="460" actId="47"/>
        <pc:sldMkLst>
          <pc:docMk/>
          <pc:sldMk cId="3645510430" sldId="379"/>
        </pc:sldMkLst>
      </pc:sldChg>
      <pc:sldChg chg="del">
        <pc:chgData name="Johanna Marx" userId="f7883e6b-b8f5-49bd-97ed-29afbba9d34b" providerId="ADAL" clId="{23286D06-AD45-4D38-857B-7BADCAD0197E}" dt="2024-11-05T09:58:52.422" v="458" actId="47"/>
        <pc:sldMkLst>
          <pc:docMk/>
          <pc:sldMk cId="2577462896" sldId="380"/>
        </pc:sldMkLst>
      </pc:sldChg>
      <pc:sldChg chg="del">
        <pc:chgData name="Johanna Marx" userId="f7883e6b-b8f5-49bd-97ed-29afbba9d34b" providerId="ADAL" clId="{23286D06-AD45-4D38-857B-7BADCAD0197E}" dt="2024-11-05T09:58:54.502" v="459" actId="47"/>
        <pc:sldMkLst>
          <pc:docMk/>
          <pc:sldMk cId="1028456503" sldId="382"/>
        </pc:sldMkLst>
      </pc:sldChg>
      <pc:sldChg chg="del">
        <pc:chgData name="Johanna Marx" userId="f7883e6b-b8f5-49bd-97ed-29afbba9d34b" providerId="ADAL" clId="{23286D06-AD45-4D38-857B-7BADCAD0197E}" dt="2024-11-05T09:52:35.242" v="22" actId="18676"/>
        <pc:sldMkLst>
          <pc:docMk/>
          <pc:sldMk cId="3051342241" sldId="384"/>
        </pc:sldMkLst>
      </pc:sldChg>
      <pc:sldMasterChg chg="delSldLayout">
        <pc:chgData name="Johanna Marx" userId="f7883e6b-b8f5-49bd-97ed-29afbba9d34b" providerId="ADAL" clId="{23286D06-AD45-4D38-857B-7BADCAD0197E}" dt="2024-11-05T09:58:54.502" v="459" actId="47"/>
        <pc:sldMasterMkLst>
          <pc:docMk/>
          <pc:sldMasterMk cId="0" sldId="2147483669"/>
        </pc:sldMasterMkLst>
        <pc:sldLayoutChg chg="del">
          <pc:chgData name="Johanna Marx" userId="f7883e6b-b8f5-49bd-97ed-29afbba9d34b" providerId="ADAL" clId="{23286D06-AD45-4D38-857B-7BADCAD0197E}" dt="2024-11-05T09:58:54.502" v="459" actId="47"/>
          <pc:sldLayoutMkLst>
            <pc:docMk/>
            <pc:sldMasterMk cId="0" sldId="2147483669"/>
            <pc:sldLayoutMk cId="0" sldId="2147483652"/>
          </pc:sldLayoutMkLst>
        </pc:sldLayoutChg>
        <pc:sldLayoutChg chg="del">
          <pc:chgData name="Johanna Marx" userId="f7883e6b-b8f5-49bd-97ed-29afbba9d34b" providerId="ADAL" clId="{23286D06-AD45-4D38-857B-7BADCAD0197E}" dt="2024-11-05T09:52:56.993" v="28" actId="18676"/>
          <pc:sldLayoutMkLst>
            <pc:docMk/>
            <pc:sldMasterMk cId="0" sldId="2147483669"/>
            <pc:sldLayoutMk cId="0" sldId="2147483656"/>
          </pc:sldLayoutMkLst>
        </pc:sldLayoutChg>
        <pc:sldLayoutChg chg="del">
          <pc:chgData name="Johanna Marx" userId="f7883e6b-b8f5-49bd-97ed-29afbba9d34b" providerId="ADAL" clId="{23286D06-AD45-4D38-857B-7BADCAD0197E}" dt="2024-11-05T09:53:04.370" v="31" actId="18676"/>
          <pc:sldLayoutMkLst>
            <pc:docMk/>
            <pc:sldMasterMk cId="0" sldId="2147483669"/>
            <pc:sldLayoutMk cId="0" sldId="2147483661"/>
          </pc:sldLayoutMkLst>
        </pc:sldLayoutChg>
        <pc:sldLayoutChg chg="del">
          <pc:chgData name="Johanna Marx" userId="f7883e6b-b8f5-49bd-97ed-29afbba9d34b" providerId="ADAL" clId="{23286D06-AD45-4D38-857B-7BADCAD0197E}" dt="2024-11-05T09:52:35.242" v="22" actId="18676"/>
          <pc:sldLayoutMkLst>
            <pc:docMk/>
            <pc:sldMasterMk cId="0" sldId="2147483669"/>
            <pc:sldLayoutMk cId="0" sldId="2147483662"/>
          </pc:sldLayoutMkLst>
        </pc:sldLayoutChg>
        <pc:sldLayoutChg chg="del">
          <pc:chgData name="Johanna Marx" userId="f7883e6b-b8f5-49bd-97ed-29afbba9d34b" providerId="ADAL" clId="{23286D06-AD45-4D38-857B-7BADCAD0197E}" dt="2024-11-05T09:51:30.231" v="10" actId="47"/>
          <pc:sldLayoutMkLst>
            <pc:docMk/>
            <pc:sldMasterMk cId="0" sldId="2147483669"/>
            <pc:sldLayoutMk cId="0" sldId="2147483666"/>
          </pc:sldLayoutMkLst>
        </pc:sldLayoutChg>
      </pc:sldMasterChg>
    </pc:docChg>
  </pc:docChgLst>
  <pc:docChgLst>
    <pc:chgData name="Lukas Rau" userId="S::lukas.rau@tum.de::a75e0523-20be-4fb9-acc6-1a36dfa716c4" providerId="AD" clId="Web-{147363E8-4442-7FBA-0D77-284E8B5989F7}"/>
    <pc:docChg chg="modSld">
      <pc:chgData name="Lukas Rau" userId="S::lukas.rau@tum.de::a75e0523-20be-4fb9-acc6-1a36dfa716c4" providerId="AD" clId="Web-{147363E8-4442-7FBA-0D77-284E8B5989F7}" dt="2024-11-27T14:00:50.519" v="28"/>
      <pc:docMkLst>
        <pc:docMk/>
      </pc:docMkLst>
      <pc:sldChg chg="modSp">
        <pc:chgData name="Lukas Rau" userId="S::lukas.rau@tum.de::a75e0523-20be-4fb9-acc6-1a36dfa716c4" providerId="AD" clId="Web-{147363E8-4442-7FBA-0D77-284E8B5989F7}" dt="2024-11-27T14:00:40.597" v="27" actId="20577"/>
        <pc:sldMkLst>
          <pc:docMk/>
          <pc:sldMk cId="4118735400" sldId="311"/>
        </pc:sldMkLst>
      </pc:sldChg>
      <pc:sldChg chg="delSp">
        <pc:chgData name="Lukas Rau" userId="S::lukas.rau@tum.de::a75e0523-20be-4fb9-acc6-1a36dfa716c4" providerId="AD" clId="Web-{147363E8-4442-7FBA-0D77-284E8B5989F7}" dt="2024-11-27T14:00:50.519" v="28"/>
        <pc:sldMkLst>
          <pc:docMk/>
          <pc:sldMk cId="941397807" sldId="391"/>
        </pc:sldMkLst>
      </pc:sldChg>
    </pc:docChg>
  </pc:docChgLst>
  <pc:docChgLst>
    <pc:chgData name="Lukas Rau" userId="S::lukas.rau@tum.de::a75e0523-20be-4fb9-acc6-1a36dfa716c4" providerId="AD" clId="Web-{08187FF1-6217-B329-F759-39CA413149C2}"/>
    <pc:docChg chg="delSld modSection">
      <pc:chgData name="Lukas Rau" userId="S::lukas.rau@tum.de::a75e0523-20be-4fb9-acc6-1a36dfa716c4" providerId="AD" clId="Web-{08187FF1-6217-B329-F759-39CA413149C2}" dt="2025-01-22T20:15:46.262" v="0"/>
      <pc:docMkLst>
        <pc:docMk/>
      </pc:docMkLst>
      <pc:sldChg chg="del">
        <pc:chgData name="Lukas Rau" userId="S::lukas.rau@tum.de::a75e0523-20be-4fb9-acc6-1a36dfa716c4" providerId="AD" clId="Web-{08187FF1-6217-B329-F759-39CA413149C2}" dt="2025-01-22T20:15:46.262" v="0"/>
        <pc:sldMkLst>
          <pc:docMk/>
          <pc:sldMk cId="2642767501" sldId="413"/>
        </pc:sldMkLst>
      </pc:sldChg>
    </pc:docChg>
  </pc:docChgLst>
  <pc:docChgLst>
    <pc:chgData name="Lukas Rau" userId="S::lukas.rau@tum.de::a75e0523-20be-4fb9-acc6-1a36dfa716c4" providerId="AD" clId="Web-{D6AA5A23-11EA-B823-4062-4B5ABFA7D8B7}"/>
    <pc:docChg chg="modSld">
      <pc:chgData name="Lukas Rau" userId="S::lukas.rau@tum.de::a75e0523-20be-4fb9-acc6-1a36dfa716c4" providerId="AD" clId="Web-{D6AA5A23-11EA-B823-4062-4B5ABFA7D8B7}" dt="2024-12-03T13:40:44.191" v="6" actId="20577"/>
      <pc:docMkLst>
        <pc:docMk/>
      </pc:docMkLst>
      <pc:sldChg chg="modSp">
        <pc:chgData name="Lukas Rau" userId="S::lukas.rau@tum.de::a75e0523-20be-4fb9-acc6-1a36dfa716c4" providerId="AD" clId="Web-{D6AA5A23-11EA-B823-4062-4B5ABFA7D8B7}" dt="2024-12-03T13:07:03.877" v="0" actId="20577"/>
        <pc:sldMkLst>
          <pc:docMk/>
          <pc:sldMk cId="1836807439" sldId="290"/>
        </pc:sldMkLst>
      </pc:sldChg>
      <pc:sldChg chg="modSp">
        <pc:chgData name="Lukas Rau" userId="S::lukas.rau@tum.de::a75e0523-20be-4fb9-acc6-1a36dfa716c4" providerId="AD" clId="Web-{D6AA5A23-11EA-B823-4062-4B5ABFA7D8B7}" dt="2024-12-03T13:07:07.830" v="2" actId="20577"/>
        <pc:sldMkLst>
          <pc:docMk/>
          <pc:sldMk cId="2962154031" sldId="416"/>
        </pc:sldMkLst>
      </pc:sldChg>
      <pc:sldChg chg="modSp">
        <pc:chgData name="Lukas Rau" userId="S::lukas.rau@tum.de::a75e0523-20be-4fb9-acc6-1a36dfa716c4" providerId="AD" clId="Web-{D6AA5A23-11EA-B823-4062-4B5ABFA7D8B7}" dt="2024-12-03T13:40:44.191" v="6" actId="20577"/>
        <pc:sldMkLst>
          <pc:docMk/>
          <pc:sldMk cId="1174880530" sldId="417"/>
        </pc:sldMkLst>
      </pc:sldChg>
      <pc:sldChg chg="modSp">
        <pc:chgData name="Lukas Rau" userId="S::lukas.rau@tum.de::a75e0523-20be-4fb9-acc6-1a36dfa716c4" providerId="AD" clId="Web-{D6AA5A23-11EA-B823-4062-4B5ABFA7D8B7}" dt="2024-12-03T13:07:12.284" v="3" actId="20577"/>
        <pc:sldMkLst>
          <pc:docMk/>
          <pc:sldMk cId="1895860218" sldId="418"/>
        </pc:sldMkLst>
      </pc:sldChg>
    </pc:docChg>
  </pc:docChgLst>
  <pc:docChgLst>
    <pc:chgData name="Lukas Rau" userId="S::lukas.rau@tum.de::a75e0523-20be-4fb9-acc6-1a36dfa716c4" providerId="AD" clId="Web-{B8A2A17F-E6E9-05EA-7F4F-B2CBCC7E5A2D}"/>
    <pc:docChg chg="modSld">
      <pc:chgData name="Lukas Rau" userId="S::lukas.rau@tum.de::a75e0523-20be-4fb9-acc6-1a36dfa716c4" providerId="AD" clId="Web-{B8A2A17F-E6E9-05EA-7F4F-B2CBCC7E5A2D}" dt="2024-11-19T07:47:53.366" v="3" actId="20577"/>
      <pc:docMkLst>
        <pc:docMk/>
      </pc:docMkLst>
      <pc:sldChg chg="modSp">
        <pc:chgData name="Lukas Rau" userId="S::lukas.rau@tum.de::a75e0523-20be-4fb9-acc6-1a36dfa716c4" providerId="AD" clId="Web-{B8A2A17F-E6E9-05EA-7F4F-B2CBCC7E5A2D}" dt="2024-11-19T07:47:53.366" v="3" actId="20577"/>
        <pc:sldMkLst>
          <pc:docMk/>
          <pc:sldMk cId="2984851244" sldId="385"/>
        </pc:sldMkLst>
      </pc:sldChg>
    </pc:docChg>
  </pc:docChgLst>
  <pc:docChgLst>
    <pc:chgData name="Sefa Sert" userId="efd7ad94-999b-4a47-9386-fda6558aa00c" providerId="ADAL" clId="{42F52A2B-ED3D-4029-BB4C-46548BE2D775}"/>
    <pc:docChg chg="custSel modSld sldOrd">
      <pc:chgData name="Sefa Sert" userId="efd7ad94-999b-4a47-9386-fda6558aa00c" providerId="ADAL" clId="{42F52A2B-ED3D-4029-BB4C-46548BE2D775}" dt="2024-07-17T22:53:35.332" v="18" actId="20577"/>
      <pc:docMkLst>
        <pc:docMk/>
      </pc:docMkLst>
      <pc:sldChg chg="modSp mod">
        <pc:chgData name="Sefa Sert" userId="efd7ad94-999b-4a47-9386-fda6558aa00c" providerId="ADAL" clId="{42F52A2B-ED3D-4029-BB4C-46548BE2D775}" dt="2024-07-17T22:53:35.332" v="18" actId="20577"/>
        <pc:sldMkLst>
          <pc:docMk/>
          <pc:sldMk cId="1127244407" sldId="341"/>
        </pc:sldMkLst>
      </pc:sldChg>
      <pc:sldChg chg="ord">
        <pc:chgData name="Sefa Sert" userId="efd7ad94-999b-4a47-9386-fda6558aa00c" providerId="ADAL" clId="{42F52A2B-ED3D-4029-BB4C-46548BE2D775}" dt="2024-07-17T22:12:08.988" v="0" actId="20578"/>
        <pc:sldMkLst>
          <pc:docMk/>
          <pc:sldMk cId="4291341608" sldId="344"/>
        </pc:sldMkLst>
      </pc:sldChg>
      <pc:sldChg chg="delSp mod">
        <pc:chgData name="Sefa Sert" userId="efd7ad94-999b-4a47-9386-fda6558aa00c" providerId="ADAL" clId="{42F52A2B-ED3D-4029-BB4C-46548BE2D775}" dt="2024-07-17T22:13:05.066" v="1" actId="478"/>
        <pc:sldMkLst>
          <pc:docMk/>
          <pc:sldMk cId="1464927690" sldId="348"/>
        </pc:sldMkLst>
      </pc:sldChg>
      <pc:sldChg chg="modSp mod">
        <pc:chgData name="Sefa Sert" userId="efd7ad94-999b-4a47-9386-fda6558aa00c" providerId="ADAL" clId="{42F52A2B-ED3D-4029-BB4C-46548BE2D775}" dt="2024-07-17T22:14:33.728" v="2" actId="20577"/>
        <pc:sldMkLst>
          <pc:docMk/>
          <pc:sldMk cId="3051342241" sldId="38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urbine Operation Rang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E"/>
        </a:p>
      </c:txPr>
    </c:title>
    <c:autoTitleDeleted val="0"/>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2AF2-4953-AE4B-26D975C4CA48}"/>
            </c:ext>
          </c:extLst>
        </c:ser>
        <c:dLbls>
          <c:showLegendKey val="0"/>
          <c:showVal val="0"/>
          <c:showCatName val="0"/>
          <c:showSerName val="0"/>
          <c:showPercent val="0"/>
          <c:showBubbleSize val="0"/>
        </c:dLbls>
        <c:axId val="1245890480"/>
        <c:axId val="2103852912"/>
      </c:scatterChart>
      <c:valAx>
        <c:axId val="1245890480"/>
        <c:scaling>
          <c:logBase val="10"/>
          <c:orientation val="minMax"/>
          <c:max val="10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2103852912"/>
        <c:crosses val="autoZero"/>
        <c:crossBetween val="midCat"/>
      </c:valAx>
      <c:valAx>
        <c:axId val="2103852912"/>
        <c:scaling>
          <c:logBase val="10"/>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12458904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31821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6"/>
        <p:cNvGrpSpPr/>
        <p:nvPr/>
      </p:nvGrpSpPr>
      <p:grpSpPr>
        <a:xfrm>
          <a:off x="0" y="0"/>
          <a:ext cx="0" cy="0"/>
          <a:chOff x="0" y="0"/>
          <a:chExt cx="0" cy="0"/>
        </a:xfrm>
      </p:grpSpPr>
      <p:sp>
        <p:nvSpPr>
          <p:cNvPr id="727" name="Google Shape;727;g135e18421cc_13_10: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8" name="Google Shape;728;g135e18421cc_13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d431007ba2_0_21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9" name="Google Shape;339;gd431007ba2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i="1">
              <a:solidFill>
                <a:srgbClr val="595959"/>
              </a:solidFill>
              <a:latin typeface="Anaheim"/>
              <a:ea typeface="Anaheim"/>
              <a:cs typeface="Anaheim"/>
              <a:sym typeface="Anaheim"/>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2918840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u="sng"/>
              <a:t>Teacher Note</a:t>
            </a:r>
            <a:r>
              <a:rPr lang="de-DE"/>
              <a:t>: </a:t>
            </a:r>
          </a:p>
          <a:p>
            <a:pPr lvl="1"/>
            <a:r>
              <a:rPr lang="de-DE"/>
              <a:t>Read </a:t>
            </a:r>
            <a:r>
              <a:rPr lang="de-DE" err="1"/>
              <a:t>the</a:t>
            </a:r>
            <a:r>
              <a:rPr lang="de-DE"/>
              <a:t> Scenario</a:t>
            </a:r>
          </a:p>
          <a:p>
            <a:pPr lvl="1"/>
            <a:r>
              <a:rPr lang="de-DE"/>
              <a:t>Go </a:t>
            </a:r>
            <a:r>
              <a:rPr lang="de-DE" err="1"/>
              <a:t>through</a:t>
            </a:r>
            <a:r>
              <a:rPr lang="de-DE"/>
              <a:t> </a:t>
            </a:r>
            <a:r>
              <a:rPr lang="de-DE" err="1"/>
              <a:t>the</a:t>
            </a:r>
            <a:r>
              <a:rPr lang="de-DE"/>
              <a:t> </a:t>
            </a:r>
            <a:r>
              <a:rPr lang="de-DE" err="1"/>
              <a:t>classroom</a:t>
            </a:r>
            <a:r>
              <a:rPr lang="de-DE"/>
              <a:t> and check </a:t>
            </a:r>
            <a:r>
              <a:rPr lang="de-DE" err="1"/>
              <a:t>if</a:t>
            </a:r>
            <a:r>
              <a:rPr lang="de-DE"/>
              <a:t> </a:t>
            </a:r>
            <a:r>
              <a:rPr lang="de-DE" err="1"/>
              <a:t>help</a:t>
            </a:r>
            <a:r>
              <a:rPr lang="de-DE"/>
              <a:t> </a:t>
            </a:r>
            <a:r>
              <a:rPr lang="de-DE" err="1"/>
              <a:t>is</a:t>
            </a:r>
            <a:r>
              <a:rPr lang="de-DE"/>
              <a:t> </a:t>
            </a:r>
            <a:r>
              <a:rPr lang="de-DE" err="1"/>
              <a:t>needed</a:t>
            </a:r>
            <a:r>
              <a:rPr lang="de-DE"/>
              <a:t> </a:t>
            </a:r>
          </a:p>
          <a:p>
            <a:pPr lvl="1"/>
            <a:r>
              <a:rPr lang="de-DE" err="1"/>
              <a:t>Stop</a:t>
            </a:r>
            <a:r>
              <a:rPr lang="de-DE"/>
              <a:t> after </a:t>
            </a:r>
            <a:r>
              <a:rPr lang="de-DE" err="1"/>
              <a:t>each</a:t>
            </a:r>
            <a:r>
              <a:rPr lang="de-DE"/>
              <a:t> Scenario and </a:t>
            </a:r>
            <a:r>
              <a:rPr lang="de-DE" err="1"/>
              <a:t>explain</a:t>
            </a:r>
            <a:r>
              <a:rPr lang="de-DE"/>
              <a:t> -&gt; sample </a:t>
            </a:r>
            <a:r>
              <a:rPr lang="de-DE" err="1"/>
              <a:t>solution</a:t>
            </a:r>
            <a:r>
              <a:rPr lang="de-DE"/>
              <a:t> </a:t>
            </a:r>
          </a:p>
          <a:p>
            <a:pPr lvl="1"/>
            <a:r>
              <a:rPr lang="de-DE" err="1"/>
              <a:t>Then</a:t>
            </a:r>
            <a:r>
              <a:rPr lang="de-DE"/>
              <a:t> </a:t>
            </a:r>
            <a:r>
              <a:rPr lang="de-DE" err="1"/>
              <a:t>move</a:t>
            </a:r>
            <a:r>
              <a:rPr lang="de-DE"/>
              <a:t> on </a:t>
            </a:r>
            <a:r>
              <a:rPr lang="de-DE" err="1"/>
              <a:t>to</a:t>
            </a:r>
            <a:r>
              <a:rPr lang="de-DE"/>
              <a:t> </a:t>
            </a:r>
            <a:r>
              <a:rPr lang="de-DE" err="1"/>
              <a:t>the</a:t>
            </a:r>
            <a:r>
              <a:rPr lang="de-DE"/>
              <a:t> </a:t>
            </a:r>
            <a:r>
              <a:rPr lang="de-DE" err="1"/>
              <a:t>next</a:t>
            </a:r>
            <a:r>
              <a:rPr lang="de-DE"/>
              <a:t> Scenario</a:t>
            </a:r>
          </a:p>
          <a:p>
            <a:pPr lvl="1"/>
            <a:endParaRPr lang="en-DE"/>
          </a:p>
        </p:txBody>
      </p:sp>
    </p:spTree>
    <p:extLst>
      <p:ext uri="{BB962C8B-B14F-4D97-AF65-F5344CB8AC3E}">
        <p14:creationId xmlns:p14="http://schemas.microsoft.com/office/powerpoint/2010/main" val="401748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C8C049A4-2AC9-EB9F-BFD1-2F662F4FAD85}"/>
            </a:ext>
          </a:extLst>
        </p:cNvPr>
        <p:cNvGrpSpPr/>
        <p:nvPr/>
      </p:nvGrpSpPr>
      <p:grpSpPr>
        <a:xfrm>
          <a:off x="0" y="0"/>
          <a:ext cx="0" cy="0"/>
          <a:chOff x="0" y="0"/>
          <a:chExt cx="0" cy="0"/>
        </a:xfrm>
      </p:grpSpPr>
      <p:sp>
        <p:nvSpPr>
          <p:cNvPr id="301" name="Google Shape;301;g4dfce81f19_0_45:notes">
            <a:extLst>
              <a:ext uri="{FF2B5EF4-FFF2-40B4-BE49-F238E27FC236}">
                <a16:creationId xmlns:a16="http://schemas.microsoft.com/office/drawing/2014/main" id="{67DE68CA-CD73-B17B-9A69-2AB271E5EAA5}"/>
              </a:ext>
            </a:extLst>
          </p:cNvPr>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a:extLst>
              <a:ext uri="{FF2B5EF4-FFF2-40B4-BE49-F238E27FC236}">
                <a16:creationId xmlns:a16="http://schemas.microsoft.com/office/drawing/2014/main" id="{5CAE348C-43F2-22CF-1C96-F8CF4549915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90760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FDADC806-CA4B-ECF4-2266-C6F45A8E4E4E}"/>
            </a:ext>
          </a:extLst>
        </p:cNvPr>
        <p:cNvGrpSpPr/>
        <p:nvPr/>
      </p:nvGrpSpPr>
      <p:grpSpPr>
        <a:xfrm>
          <a:off x="0" y="0"/>
          <a:ext cx="0" cy="0"/>
          <a:chOff x="0" y="0"/>
          <a:chExt cx="0" cy="0"/>
        </a:xfrm>
      </p:grpSpPr>
      <p:sp>
        <p:nvSpPr>
          <p:cNvPr id="301" name="Google Shape;301;g4dfce81f19_0_45:notes">
            <a:extLst>
              <a:ext uri="{FF2B5EF4-FFF2-40B4-BE49-F238E27FC236}">
                <a16:creationId xmlns:a16="http://schemas.microsoft.com/office/drawing/2014/main" id="{9D0F642D-ACB3-3EF7-A68B-827B9BB8F172}"/>
              </a:ext>
            </a:extLst>
          </p:cNvPr>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a:extLst>
              <a:ext uri="{FF2B5EF4-FFF2-40B4-BE49-F238E27FC236}">
                <a16:creationId xmlns:a16="http://schemas.microsoft.com/office/drawing/2014/main" id="{45EE617C-3D4F-A5F4-6FB4-D2CDFE00947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13818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9715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a:extLst>
            <a:ext uri="{FF2B5EF4-FFF2-40B4-BE49-F238E27FC236}">
              <a16:creationId xmlns:a16="http://schemas.microsoft.com/office/drawing/2014/main" id="{EAA98AA7-F5A5-4765-59E8-5C837E213B3F}"/>
            </a:ext>
          </a:extLst>
        </p:cNvPr>
        <p:cNvGrpSpPr/>
        <p:nvPr/>
      </p:nvGrpSpPr>
      <p:grpSpPr>
        <a:xfrm>
          <a:off x="0" y="0"/>
          <a:ext cx="0" cy="0"/>
          <a:chOff x="0" y="0"/>
          <a:chExt cx="0" cy="0"/>
        </a:xfrm>
      </p:grpSpPr>
      <p:sp>
        <p:nvSpPr>
          <p:cNvPr id="301" name="Google Shape;301;g4dfce81f19_0_45:notes">
            <a:extLst>
              <a:ext uri="{FF2B5EF4-FFF2-40B4-BE49-F238E27FC236}">
                <a16:creationId xmlns:a16="http://schemas.microsoft.com/office/drawing/2014/main" id="{338A4C7E-7001-58A5-C06C-F4424E00CF85}"/>
              </a:ext>
            </a:extLst>
          </p:cNvPr>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a:extLst>
              <a:ext uri="{FF2B5EF4-FFF2-40B4-BE49-F238E27FC236}">
                <a16:creationId xmlns:a16="http://schemas.microsoft.com/office/drawing/2014/main" id="{C1E964B9-0514-A68C-1ACE-931EA49ED98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79031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91509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s://bit.ly/3A1uf1Q"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11" name="Google Shape;11;p2"/>
          <p:cNvSpPr/>
          <p:nvPr/>
        </p:nvSpPr>
        <p:spPr>
          <a:xfrm>
            <a:off x="-800411" y="4918203"/>
            <a:ext cx="2352738" cy="4307355"/>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4" name="Gruppieren 3">
            <a:extLst>
              <a:ext uri="{FF2B5EF4-FFF2-40B4-BE49-F238E27FC236}">
                <a16:creationId xmlns:a16="http://schemas.microsoft.com/office/drawing/2014/main" id="{350ED9F0-7543-D4F6-8646-CC04456CB93C}"/>
              </a:ext>
            </a:extLst>
          </p:cNvPr>
          <p:cNvGrpSpPr/>
          <p:nvPr userDrawn="1"/>
        </p:nvGrpSpPr>
        <p:grpSpPr>
          <a:xfrm>
            <a:off x="1552327" y="8858060"/>
            <a:ext cx="775933" cy="734996"/>
            <a:chOff x="1575188" y="9679563"/>
            <a:chExt cx="250598" cy="378709"/>
          </a:xfrm>
        </p:grpSpPr>
        <p:sp>
          <p:nvSpPr>
            <p:cNvPr id="12" name="Google Shape;12;p2"/>
            <p:cNvSpPr/>
            <p:nvPr/>
          </p:nvSpPr>
          <p:spPr>
            <a:xfrm>
              <a:off x="1575188" y="9708667"/>
              <a:ext cx="157420" cy="32668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3" name="Google Shape;13;p2"/>
            <p:cNvSpPr/>
            <p:nvPr/>
          </p:nvSpPr>
          <p:spPr>
            <a:xfrm>
              <a:off x="1732607" y="9679563"/>
              <a:ext cx="24163" cy="378709"/>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4" name="Google Shape;14;p2"/>
            <p:cNvSpPr/>
            <p:nvPr/>
          </p:nvSpPr>
          <p:spPr>
            <a:xfrm>
              <a:off x="1756770" y="9919668"/>
              <a:ext cx="69016" cy="52022"/>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5" name="Google Shape;15;p2"/>
            <p:cNvSpPr/>
            <p:nvPr/>
          </p:nvSpPr>
          <p:spPr>
            <a:xfrm>
              <a:off x="1756770" y="9766148"/>
              <a:ext cx="69016" cy="52385"/>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16" name="Google Shape;16;p2"/>
          <p:cNvSpPr/>
          <p:nvPr/>
        </p:nvSpPr>
        <p:spPr>
          <a:xfrm>
            <a:off x="6653164" y="8418445"/>
            <a:ext cx="1894488" cy="104993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17" name="Google Shape;17;p2"/>
          <p:cNvGrpSpPr/>
          <p:nvPr/>
        </p:nvGrpSpPr>
        <p:grpSpPr>
          <a:xfrm>
            <a:off x="678388" y="420332"/>
            <a:ext cx="1339485" cy="1316965"/>
            <a:chOff x="285100" y="445225"/>
            <a:chExt cx="856200" cy="353229"/>
          </a:xfrm>
        </p:grpSpPr>
        <p:sp>
          <p:nvSpPr>
            <p:cNvPr id="18" name="Google Shape;18;p2"/>
            <p:cNvSpPr/>
            <p:nvPr/>
          </p:nvSpPr>
          <p:spPr>
            <a:xfrm>
              <a:off x="285100" y="445225"/>
              <a:ext cx="856200" cy="353229"/>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9" name="Google Shape;19;p2"/>
            <p:cNvSpPr/>
            <p:nvPr/>
          </p:nvSpPr>
          <p:spPr>
            <a:xfrm>
              <a:off x="506762" y="484579"/>
              <a:ext cx="434338" cy="274521"/>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1" name="Google Shape;21;p2"/>
          <p:cNvSpPr/>
          <p:nvPr/>
        </p:nvSpPr>
        <p:spPr>
          <a:xfrm>
            <a:off x="-1204795" y="1590571"/>
            <a:ext cx="2102627" cy="2183502"/>
          </a:xfrm>
          <a:prstGeom prst="ellipse">
            <a:avLst/>
          </a:prstGeom>
          <a:solidFill>
            <a:schemeClr val="accent5">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2" name="Google Shape;22;p2"/>
          <p:cNvSpPr/>
          <p:nvPr/>
        </p:nvSpPr>
        <p:spPr>
          <a:xfrm>
            <a:off x="4262027" y="9468381"/>
            <a:ext cx="2102628" cy="2183502"/>
          </a:xfrm>
          <a:prstGeom prst="ellipse">
            <a:avLst/>
          </a:prstGeom>
          <a:solidFill>
            <a:schemeClr val="accent5">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 name="Google Shape;23;p2"/>
          <p:cNvSpPr txBox="1">
            <a:spLocks noGrp="1"/>
          </p:cNvSpPr>
          <p:nvPr>
            <p:ph type="ctrTitle"/>
          </p:nvPr>
        </p:nvSpPr>
        <p:spPr>
          <a:xfrm>
            <a:off x="2753755" y="2368606"/>
            <a:ext cx="4216106" cy="4703275"/>
          </a:xfrm>
          <a:prstGeom prst="rect">
            <a:avLst/>
          </a:prstGeom>
        </p:spPr>
        <p:txBody>
          <a:bodyPr spcFirstLastPara="1" wrap="square" lIns="91425" tIns="91425" rIns="91425" bIns="91425" anchor="b" anchorCtr="0">
            <a:noAutofit/>
          </a:bodyPr>
          <a:lstStyle>
            <a:lvl1pPr lvl="0">
              <a:spcBef>
                <a:spcPts val="0"/>
              </a:spcBef>
              <a:spcAft>
                <a:spcPts val="0"/>
              </a:spcAft>
              <a:buClr>
                <a:srgbClr val="191919"/>
              </a:buClr>
              <a:buSzPts val="4200"/>
              <a:buNone/>
              <a:defRPr sz="3472"/>
            </a:lvl1pPr>
            <a:lvl2pPr lvl="1" algn="ctr">
              <a:spcBef>
                <a:spcPts val="0"/>
              </a:spcBef>
              <a:spcAft>
                <a:spcPts val="0"/>
              </a:spcAft>
              <a:buClr>
                <a:srgbClr val="191919"/>
              </a:buClr>
              <a:buSzPts val="4200"/>
              <a:buNone/>
              <a:defRPr sz="3472">
                <a:solidFill>
                  <a:srgbClr val="191919"/>
                </a:solidFill>
              </a:defRPr>
            </a:lvl2pPr>
            <a:lvl3pPr lvl="2" algn="ctr">
              <a:spcBef>
                <a:spcPts val="0"/>
              </a:spcBef>
              <a:spcAft>
                <a:spcPts val="0"/>
              </a:spcAft>
              <a:buClr>
                <a:srgbClr val="191919"/>
              </a:buClr>
              <a:buSzPts val="4200"/>
              <a:buNone/>
              <a:defRPr sz="3472">
                <a:solidFill>
                  <a:srgbClr val="191919"/>
                </a:solidFill>
              </a:defRPr>
            </a:lvl3pPr>
            <a:lvl4pPr lvl="3" algn="ctr">
              <a:spcBef>
                <a:spcPts val="0"/>
              </a:spcBef>
              <a:spcAft>
                <a:spcPts val="0"/>
              </a:spcAft>
              <a:buClr>
                <a:srgbClr val="191919"/>
              </a:buClr>
              <a:buSzPts val="4200"/>
              <a:buNone/>
              <a:defRPr sz="3472">
                <a:solidFill>
                  <a:srgbClr val="191919"/>
                </a:solidFill>
              </a:defRPr>
            </a:lvl4pPr>
            <a:lvl5pPr lvl="4" algn="ctr">
              <a:spcBef>
                <a:spcPts val="0"/>
              </a:spcBef>
              <a:spcAft>
                <a:spcPts val="0"/>
              </a:spcAft>
              <a:buClr>
                <a:srgbClr val="191919"/>
              </a:buClr>
              <a:buSzPts val="4200"/>
              <a:buNone/>
              <a:defRPr sz="3472">
                <a:solidFill>
                  <a:srgbClr val="191919"/>
                </a:solidFill>
              </a:defRPr>
            </a:lvl5pPr>
            <a:lvl6pPr lvl="5" algn="ctr">
              <a:spcBef>
                <a:spcPts val="0"/>
              </a:spcBef>
              <a:spcAft>
                <a:spcPts val="0"/>
              </a:spcAft>
              <a:buClr>
                <a:srgbClr val="191919"/>
              </a:buClr>
              <a:buSzPts val="4200"/>
              <a:buNone/>
              <a:defRPr sz="3472">
                <a:solidFill>
                  <a:srgbClr val="191919"/>
                </a:solidFill>
              </a:defRPr>
            </a:lvl6pPr>
            <a:lvl7pPr lvl="6" algn="ctr">
              <a:spcBef>
                <a:spcPts val="0"/>
              </a:spcBef>
              <a:spcAft>
                <a:spcPts val="0"/>
              </a:spcAft>
              <a:buClr>
                <a:srgbClr val="191919"/>
              </a:buClr>
              <a:buSzPts val="4200"/>
              <a:buNone/>
              <a:defRPr sz="3472">
                <a:solidFill>
                  <a:srgbClr val="191919"/>
                </a:solidFill>
              </a:defRPr>
            </a:lvl7pPr>
            <a:lvl8pPr lvl="7" algn="ctr">
              <a:spcBef>
                <a:spcPts val="0"/>
              </a:spcBef>
              <a:spcAft>
                <a:spcPts val="0"/>
              </a:spcAft>
              <a:buClr>
                <a:srgbClr val="191919"/>
              </a:buClr>
              <a:buSzPts val="4200"/>
              <a:buNone/>
              <a:defRPr sz="3472">
                <a:solidFill>
                  <a:srgbClr val="191919"/>
                </a:solidFill>
              </a:defRPr>
            </a:lvl8pPr>
            <a:lvl9pPr lvl="8" algn="ctr">
              <a:spcBef>
                <a:spcPts val="0"/>
              </a:spcBef>
              <a:spcAft>
                <a:spcPts val="0"/>
              </a:spcAft>
              <a:buClr>
                <a:srgbClr val="191919"/>
              </a:buClr>
              <a:buSzPts val="4200"/>
              <a:buNone/>
              <a:defRPr sz="3472">
                <a:solidFill>
                  <a:srgbClr val="191919"/>
                </a:solidFill>
              </a:defRPr>
            </a:lvl9pPr>
          </a:lstStyle>
          <a:p>
            <a:endParaRPr/>
          </a:p>
        </p:txBody>
      </p:sp>
      <p:sp>
        <p:nvSpPr>
          <p:cNvPr id="24" name="Google Shape;24;p2"/>
          <p:cNvSpPr txBox="1">
            <a:spLocks noGrp="1"/>
          </p:cNvSpPr>
          <p:nvPr>
            <p:ph type="subTitle" idx="1"/>
          </p:nvPr>
        </p:nvSpPr>
        <p:spPr>
          <a:xfrm>
            <a:off x="2753755" y="7266084"/>
            <a:ext cx="4216106" cy="855594"/>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spcBef>
                <a:spcPts val="0"/>
              </a:spcBef>
              <a:spcAft>
                <a:spcPts val="0"/>
              </a:spcAft>
              <a:buSzPts val="1600"/>
              <a:buNone/>
              <a:defRPr sz="1323">
                <a:solidFill>
                  <a:schemeClr val="accent5">
                    <a:lumMod val="50000"/>
                  </a:schemeClr>
                </a:solidFill>
              </a:defRPr>
            </a:lvl1pPr>
            <a:lvl2pPr lvl="1" algn="ctr">
              <a:lnSpc>
                <a:spcPct val="100000"/>
              </a:lnSpc>
              <a:spcBef>
                <a:spcPts val="0"/>
              </a:spcBef>
              <a:spcAft>
                <a:spcPts val="0"/>
              </a:spcAft>
              <a:buSzPts val="1600"/>
              <a:buNone/>
              <a:defRPr sz="1323"/>
            </a:lvl2pPr>
            <a:lvl3pPr lvl="2" algn="ctr">
              <a:lnSpc>
                <a:spcPct val="100000"/>
              </a:lnSpc>
              <a:spcBef>
                <a:spcPts val="0"/>
              </a:spcBef>
              <a:spcAft>
                <a:spcPts val="0"/>
              </a:spcAft>
              <a:buSzPts val="1600"/>
              <a:buNone/>
              <a:defRPr sz="1323"/>
            </a:lvl3pPr>
            <a:lvl4pPr lvl="3" algn="ctr">
              <a:lnSpc>
                <a:spcPct val="100000"/>
              </a:lnSpc>
              <a:spcBef>
                <a:spcPts val="0"/>
              </a:spcBef>
              <a:spcAft>
                <a:spcPts val="0"/>
              </a:spcAft>
              <a:buSzPts val="1600"/>
              <a:buNone/>
              <a:defRPr sz="1323"/>
            </a:lvl4pPr>
            <a:lvl5pPr lvl="4" algn="ctr">
              <a:lnSpc>
                <a:spcPct val="100000"/>
              </a:lnSpc>
              <a:spcBef>
                <a:spcPts val="0"/>
              </a:spcBef>
              <a:spcAft>
                <a:spcPts val="0"/>
              </a:spcAft>
              <a:buSzPts val="1600"/>
              <a:buNone/>
              <a:defRPr sz="1323"/>
            </a:lvl5pPr>
            <a:lvl6pPr lvl="5" algn="ctr">
              <a:lnSpc>
                <a:spcPct val="100000"/>
              </a:lnSpc>
              <a:spcBef>
                <a:spcPts val="0"/>
              </a:spcBef>
              <a:spcAft>
                <a:spcPts val="0"/>
              </a:spcAft>
              <a:buSzPts val="1600"/>
              <a:buNone/>
              <a:defRPr sz="1323"/>
            </a:lvl6pPr>
            <a:lvl7pPr lvl="6" algn="ctr">
              <a:lnSpc>
                <a:spcPct val="100000"/>
              </a:lnSpc>
              <a:spcBef>
                <a:spcPts val="0"/>
              </a:spcBef>
              <a:spcAft>
                <a:spcPts val="0"/>
              </a:spcAft>
              <a:buSzPts val="1600"/>
              <a:buNone/>
              <a:defRPr sz="1323"/>
            </a:lvl7pPr>
            <a:lvl8pPr lvl="7" algn="ctr">
              <a:lnSpc>
                <a:spcPct val="100000"/>
              </a:lnSpc>
              <a:spcBef>
                <a:spcPts val="0"/>
              </a:spcBef>
              <a:spcAft>
                <a:spcPts val="0"/>
              </a:spcAft>
              <a:buSzPts val="1600"/>
              <a:buNone/>
              <a:defRPr sz="1323"/>
            </a:lvl8pPr>
            <a:lvl9pPr lvl="8" algn="ctr">
              <a:lnSpc>
                <a:spcPct val="100000"/>
              </a:lnSpc>
              <a:spcBef>
                <a:spcPts val="0"/>
              </a:spcBef>
              <a:spcAft>
                <a:spcPts val="0"/>
              </a:spcAft>
              <a:buSzPts val="1600"/>
              <a:buNone/>
              <a:defRPr sz="1323"/>
            </a:lvl9pPr>
          </a:lstStyle>
          <a:p>
            <a:endParaRPr/>
          </a:p>
        </p:txBody>
      </p:sp>
      <p:sp>
        <p:nvSpPr>
          <p:cNvPr id="3" name="Google Shape;16;p2">
            <a:extLst>
              <a:ext uri="{FF2B5EF4-FFF2-40B4-BE49-F238E27FC236}">
                <a16:creationId xmlns:a16="http://schemas.microsoft.com/office/drawing/2014/main" id="{398063EB-6640-0517-42C7-620EEB8F772B}"/>
              </a:ext>
            </a:extLst>
          </p:cNvPr>
          <p:cNvSpPr/>
          <p:nvPr/>
        </p:nvSpPr>
        <p:spPr>
          <a:xfrm>
            <a:off x="5921829" y="-180047"/>
            <a:ext cx="2349388" cy="1258862"/>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5" name="Google Shape;22;p2">
            <a:extLst>
              <a:ext uri="{FF2B5EF4-FFF2-40B4-BE49-F238E27FC236}">
                <a16:creationId xmlns:a16="http://schemas.microsoft.com/office/drawing/2014/main" id="{B73CE064-1E2D-E72B-2148-EB74FC217692}"/>
              </a:ext>
            </a:extLst>
          </p:cNvPr>
          <p:cNvSpPr/>
          <p:nvPr userDrawn="1"/>
        </p:nvSpPr>
        <p:spPr>
          <a:xfrm>
            <a:off x="4086767" y="-1734118"/>
            <a:ext cx="2102628" cy="2183502"/>
          </a:xfrm>
          <a:prstGeom prst="ellipse">
            <a:avLst/>
          </a:prstGeom>
          <a:solidFill>
            <a:schemeClr val="accent5">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84EBD5C8-88E5-EDEB-AB74-C30048250204}"/>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55"/>
        <p:cNvGrpSpPr/>
        <p:nvPr/>
      </p:nvGrpSpPr>
      <p:grpSpPr>
        <a:xfrm>
          <a:off x="0" y="0"/>
          <a:ext cx="0" cy="0"/>
          <a:chOff x="0" y="0"/>
          <a:chExt cx="0" cy="0"/>
        </a:xfrm>
      </p:grpSpPr>
      <p:sp>
        <p:nvSpPr>
          <p:cNvPr id="56" name="Google Shape;56;p5"/>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7" name="Google Shape;57;p5"/>
          <p:cNvSpPr txBox="1">
            <a:spLocks noGrp="1"/>
          </p:cNvSpPr>
          <p:nvPr>
            <p:ph type="subTitle" idx="1"/>
          </p:nvPr>
        </p:nvSpPr>
        <p:spPr>
          <a:xfrm>
            <a:off x="1236849" y="7614736"/>
            <a:ext cx="5594110" cy="1955608"/>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8" name="Google Shape;58;p5"/>
          <p:cNvSpPr txBox="1">
            <a:spLocks noGrp="1"/>
          </p:cNvSpPr>
          <p:nvPr>
            <p:ph type="subTitle" idx="2"/>
          </p:nvPr>
        </p:nvSpPr>
        <p:spPr>
          <a:xfrm>
            <a:off x="1236662" y="3947769"/>
            <a:ext cx="5594110" cy="1955607"/>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9" name="Google Shape;59;p5"/>
          <p:cNvSpPr txBox="1">
            <a:spLocks noGrp="1"/>
          </p:cNvSpPr>
          <p:nvPr>
            <p:ph type="subTitle" idx="3"/>
          </p:nvPr>
        </p:nvSpPr>
        <p:spPr>
          <a:xfrm>
            <a:off x="1236663" y="2902598"/>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60" name="Google Shape;60;p5"/>
          <p:cNvSpPr txBox="1">
            <a:spLocks noGrp="1"/>
          </p:cNvSpPr>
          <p:nvPr>
            <p:ph type="subTitle" idx="4"/>
          </p:nvPr>
        </p:nvSpPr>
        <p:spPr>
          <a:xfrm>
            <a:off x="1236853" y="6569567"/>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grpSp>
        <p:nvGrpSpPr>
          <p:cNvPr id="61" name="Google Shape;61;p5"/>
          <p:cNvGrpSpPr/>
          <p:nvPr/>
        </p:nvGrpSpPr>
        <p:grpSpPr>
          <a:xfrm>
            <a:off x="22" y="-54674"/>
            <a:ext cx="7559645" cy="11548655"/>
            <a:chOff x="26" y="-26302"/>
            <a:chExt cx="9143964" cy="5555700"/>
          </a:xfrm>
        </p:grpSpPr>
        <p:grpSp>
          <p:nvGrpSpPr>
            <p:cNvPr id="62" name="Google Shape;62;p5"/>
            <p:cNvGrpSpPr/>
            <p:nvPr/>
          </p:nvGrpSpPr>
          <p:grpSpPr>
            <a:xfrm flipH="1">
              <a:off x="26" y="-26302"/>
              <a:ext cx="1357398" cy="5555700"/>
              <a:chOff x="7798852" y="-39350"/>
              <a:chExt cx="1357398" cy="5555700"/>
            </a:xfrm>
          </p:grpSpPr>
          <p:sp>
            <p:nvSpPr>
              <p:cNvPr id="63" name="Google Shape;63;p5"/>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64" name="Google Shape;64;p5"/>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5" name="Google Shape;65;p5"/>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6" name="Google Shape;66;p5"/>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7" name="Google Shape;67;p5"/>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68" name="Google Shape;68;p5"/>
              <p:cNvCxnSpPr/>
              <p:nvPr/>
            </p:nvCxnSpPr>
            <p:spPr>
              <a:xfrm>
                <a:off x="8099950" y="278675"/>
                <a:ext cx="1056300" cy="0"/>
              </a:xfrm>
              <a:prstGeom prst="straightConnector1">
                <a:avLst/>
              </a:prstGeom>
              <a:noFill/>
              <a:ln w="9525" cap="flat" cmpd="sng">
                <a:solidFill>
                  <a:schemeClr val="dk1"/>
                </a:solidFill>
                <a:prstDash val="solid"/>
                <a:round/>
                <a:headEnd type="none" w="med" len="med"/>
                <a:tailEnd type="none" w="med" len="med"/>
              </a:ln>
            </p:spPr>
          </p:cxnSp>
          <p:cxnSp>
            <p:nvCxnSpPr>
              <p:cNvPr id="69" name="Google Shape;69;p5"/>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sp>
          <p:nvSpPr>
            <p:cNvPr id="70" name="Google Shape;70;p5"/>
            <p:cNvSpPr/>
            <p:nvPr/>
          </p:nvSpPr>
          <p:spPr>
            <a:xfrm flipH="1">
              <a:off x="8630270" y="3802368"/>
              <a:ext cx="513720" cy="1424520"/>
            </a:xfrm>
            <a:custGeom>
              <a:avLst/>
              <a:gdLst/>
              <a:ahLst/>
              <a:cxnLst/>
              <a:rect l="l" t="t" r="r" b="b"/>
              <a:pathLst>
                <a:path w="1427" h="3957" fill="none" extrusionOk="0">
                  <a:moveTo>
                    <a:pt x="0" y="0"/>
                  </a:moveTo>
                  <a:lnTo>
                    <a:pt x="0" y="0"/>
                  </a:lnTo>
                  <a:cubicBezTo>
                    <a:pt x="959" y="0"/>
                    <a:pt x="959" y="0"/>
                    <a:pt x="959" y="0"/>
                  </a:cubicBezTo>
                  <a:cubicBezTo>
                    <a:pt x="1216" y="0"/>
                    <a:pt x="1427" y="207"/>
                    <a:pt x="1427" y="465"/>
                  </a:cubicBezTo>
                  <a:cubicBezTo>
                    <a:pt x="1427" y="3957"/>
                    <a:pt x="1427" y="3957"/>
                    <a:pt x="1427" y="3957"/>
                  </a:cubicBezTo>
                </a:path>
              </a:pathLst>
            </a:custGeom>
            <a:noFill/>
            <a:ln w="9525" cap="rnd" cmpd="sng">
              <a:solidFill>
                <a:schemeClr val="dk1"/>
              </a:solidFill>
              <a:prstDash val="solid"/>
              <a:round/>
              <a:headEnd type="none" w="sm" len="sm"/>
              <a:tailEnd type="none" w="sm" len="sm"/>
            </a:ln>
          </p:spPr>
          <p:txBody>
            <a:bodyPr spcFirstLastPara="1" wrap="square" lIns="92500" tIns="47500" rIns="92500" bIns="475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71" name="Google Shape;71;p5"/>
          <p:cNvSpPr/>
          <p:nvPr/>
        </p:nvSpPr>
        <p:spPr>
          <a:xfrm>
            <a:off x="6830772" y="-784996"/>
            <a:ext cx="1837834" cy="1779461"/>
          </a:xfrm>
          <a:prstGeom prst="ellipse">
            <a:avLst/>
          </a:prstGeom>
          <a:solidFill>
            <a:schemeClr val="accent5">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7260C281-3029-BC6C-001B-4D47D6A4925F}"/>
              </a:ext>
            </a:extLst>
          </p:cNvPr>
          <p:cNvSpPr>
            <a:spLocks noGrp="1"/>
          </p:cNvSpPr>
          <p:nvPr>
            <p:ph type="sldNum" sz="quarter" idx="10"/>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90"/>
        <p:cNvGrpSpPr/>
        <p:nvPr/>
      </p:nvGrpSpPr>
      <p:grpSpPr>
        <a:xfrm>
          <a:off x="0" y="0"/>
          <a:ext cx="0" cy="0"/>
          <a:chOff x="0" y="0"/>
          <a:chExt cx="0" cy="0"/>
        </a:xfrm>
      </p:grpSpPr>
      <p:grpSp>
        <p:nvGrpSpPr>
          <p:cNvPr id="92" name="Google Shape;92;p7"/>
          <p:cNvGrpSpPr/>
          <p:nvPr/>
        </p:nvGrpSpPr>
        <p:grpSpPr>
          <a:xfrm>
            <a:off x="-101699" y="307461"/>
            <a:ext cx="5595514" cy="10412435"/>
            <a:chOff x="-123013" y="147910"/>
            <a:chExt cx="6768198" cy="5009100"/>
          </a:xfrm>
        </p:grpSpPr>
        <p:sp>
          <p:nvSpPr>
            <p:cNvPr id="93" name="Google Shape;93;p7"/>
            <p:cNvSpPr/>
            <p:nvPr/>
          </p:nvSpPr>
          <p:spPr>
            <a:xfrm rot="10800000" flipH="1">
              <a:off x="-123013" y="14791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94" name="Google Shape;94;p7"/>
            <p:cNvSpPr/>
            <p:nvPr/>
          </p:nvSpPr>
          <p:spPr>
            <a:xfrm>
              <a:off x="6342067" y="213016"/>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5" name="Google Shape;95;p7"/>
            <p:cNvSpPr/>
            <p:nvPr/>
          </p:nvSpPr>
          <p:spPr>
            <a:xfrm>
              <a:off x="6532479" y="199015"/>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6" name="Google Shape;96;p7"/>
            <p:cNvSpPr/>
            <p:nvPr/>
          </p:nvSpPr>
          <p:spPr>
            <a:xfrm>
              <a:off x="6561705" y="314522"/>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7" name="Google Shape;97;p7"/>
            <p:cNvSpPr/>
            <p:nvPr/>
          </p:nvSpPr>
          <p:spPr>
            <a:xfrm>
              <a:off x="6561705" y="240668"/>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98" name="Google Shape;98;p7"/>
            <p:cNvCxnSpPr>
              <a:endCxn id="93" idx="3"/>
            </p:cNvCxnSpPr>
            <p:nvPr/>
          </p:nvCxnSpPr>
          <p:spPr>
            <a:xfrm rot="10800000">
              <a:off x="1053587" y="290110"/>
              <a:ext cx="5285100" cy="0"/>
            </a:xfrm>
            <a:prstGeom prst="straightConnector1">
              <a:avLst/>
            </a:prstGeom>
            <a:noFill/>
            <a:ln w="9525" cap="flat" cmpd="sng">
              <a:solidFill>
                <a:schemeClr val="dk1"/>
              </a:solidFill>
              <a:prstDash val="solid"/>
              <a:round/>
              <a:headEnd type="none" w="med" len="med"/>
              <a:tailEnd type="none" w="med" len="med"/>
            </a:ln>
          </p:spPr>
        </p:cxnSp>
        <p:cxnSp>
          <p:nvCxnSpPr>
            <p:cNvPr id="99" name="Google Shape;99;p7"/>
            <p:cNvCxnSpPr>
              <a:endCxn id="93" idx="0"/>
            </p:cNvCxnSpPr>
            <p:nvPr/>
          </p:nvCxnSpPr>
          <p:spPr>
            <a:xfrm rot="10800000">
              <a:off x="465287" y="432310"/>
              <a:ext cx="0" cy="4724700"/>
            </a:xfrm>
            <a:prstGeom prst="straightConnector1">
              <a:avLst/>
            </a:prstGeom>
            <a:noFill/>
            <a:ln w="9525" cap="flat" cmpd="sng">
              <a:solidFill>
                <a:schemeClr val="dk1"/>
              </a:solidFill>
              <a:prstDash val="solid"/>
              <a:round/>
              <a:headEnd type="none" w="med" len="med"/>
              <a:tailEnd type="none" w="med" len="med"/>
            </a:ln>
          </p:spPr>
        </p:cxnSp>
      </p:grpSp>
      <p:sp>
        <p:nvSpPr>
          <p:cNvPr id="100" name="Google Shape;100;p7"/>
          <p:cNvSpPr>
            <a:spLocks noGrp="1"/>
          </p:cNvSpPr>
          <p:nvPr>
            <p:ph type="pic" idx="2"/>
          </p:nvPr>
        </p:nvSpPr>
        <p:spPr>
          <a:xfrm>
            <a:off x="589649" y="2813058"/>
            <a:ext cx="3031063" cy="6757450"/>
          </a:xfrm>
          <a:prstGeom prst="rect">
            <a:avLst/>
          </a:prstGeom>
          <a:noFill/>
          <a:ln w="9525" cap="flat" cmpd="sng">
            <a:solidFill>
              <a:schemeClr val="dk1"/>
            </a:solidFill>
            <a:prstDash val="dash"/>
            <a:round/>
            <a:headEnd type="none" w="sm" len="sm"/>
            <a:tailEnd type="none" w="sm" len="sm"/>
          </a:ln>
        </p:spPr>
      </p:sp>
      <p:sp>
        <p:nvSpPr>
          <p:cNvPr id="101" name="Google Shape;101;p7"/>
          <p:cNvSpPr txBox="1">
            <a:spLocks noGrp="1"/>
          </p:cNvSpPr>
          <p:nvPr>
            <p:ph type="title"/>
          </p:nvPr>
        </p:nvSpPr>
        <p:spPr>
          <a:xfrm>
            <a:off x="589649" y="1121461"/>
            <a:ext cx="6380088" cy="1197333"/>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02" name="Google Shape;102;p7"/>
          <p:cNvSpPr txBox="1">
            <a:spLocks noGrp="1"/>
          </p:cNvSpPr>
          <p:nvPr>
            <p:ph type="subTitle" idx="1"/>
          </p:nvPr>
        </p:nvSpPr>
        <p:spPr>
          <a:xfrm>
            <a:off x="3734367" y="2813058"/>
            <a:ext cx="3235432" cy="675745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Char char="☐"/>
              <a:defRPr/>
            </a:lvl1pPr>
            <a:lvl2pPr lvl="1" algn="ctr" rtl="0">
              <a:lnSpc>
                <a:spcPct val="115000"/>
              </a:lnSpc>
              <a:spcBef>
                <a:spcPts val="0"/>
              </a:spcBef>
              <a:spcAft>
                <a:spcPts val="0"/>
              </a:spcAft>
              <a:buClr>
                <a:srgbClr val="E76A28"/>
              </a:buClr>
              <a:buSzPts val="1600"/>
              <a:buFont typeface="Nunito Light"/>
              <a:buChar char="○"/>
              <a:defRPr/>
            </a:lvl2pPr>
            <a:lvl3pPr lvl="2" algn="ctr" rtl="0">
              <a:lnSpc>
                <a:spcPct val="115000"/>
              </a:lnSpc>
              <a:spcBef>
                <a:spcPts val="0"/>
              </a:spcBef>
              <a:spcAft>
                <a:spcPts val="0"/>
              </a:spcAft>
              <a:buClr>
                <a:srgbClr val="E76A28"/>
              </a:buClr>
              <a:buSzPts val="1500"/>
              <a:buFont typeface="Nunito Light"/>
              <a:buChar char="■"/>
              <a:defRPr/>
            </a:lvl3pPr>
            <a:lvl4pPr lvl="3" algn="ctr" rtl="0">
              <a:lnSpc>
                <a:spcPct val="115000"/>
              </a:lnSpc>
              <a:spcBef>
                <a:spcPts val="0"/>
              </a:spcBef>
              <a:spcAft>
                <a:spcPts val="0"/>
              </a:spcAft>
              <a:buClr>
                <a:srgbClr val="E76A28"/>
              </a:buClr>
              <a:buSzPts val="1500"/>
              <a:buFont typeface="Nunito Light"/>
              <a:buChar char="●"/>
              <a:defRPr/>
            </a:lvl4pPr>
            <a:lvl5pPr lvl="4" algn="ctr" rtl="0">
              <a:lnSpc>
                <a:spcPct val="115000"/>
              </a:lnSpc>
              <a:spcBef>
                <a:spcPts val="0"/>
              </a:spcBef>
              <a:spcAft>
                <a:spcPts val="0"/>
              </a:spcAft>
              <a:buClr>
                <a:srgbClr val="E76A28"/>
              </a:buClr>
              <a:buSzPts val="1400"/>
              <a:buFont typeface="Nunito Light"/>
              <a:buChar char="○"/>
              <a:defRPr/>
            </a:lvl5pPr>
            <a:lvl6pPr lvl="5" algn="ctr" rtl="0">
              <a:lnSpc>
                <a:spcPct val="115000"/>
              </a:lnSpc>
              <a:spcBef>
                <a:spcPts val="0"/>
              </a:spcBef>
              <a:spcAft>
                <a:spcPts val="0"/>
              </a:spcAft>
              <a:buClr>
                <a:srgbClr val="999999"/>
              </a:buClr>
              <a:buSzPts val="1400"/>
              <a:buFont typeface="Nunito Light"/>
              <a:buChar char="■"/>
              <a:defRPr/>
            </a:lvl6pPr>
            <a:lvl7pPr lvl="6" algn="ctr" rtl="0">
              <a:lnSpc>
                <a:spcPct val="115000"/>
              </a:lnSpc>
              <a:spcBef>
                <a:spcPts val="0"/>
              </a:spcBef>
              <a:spcAft>
                <a:spcPts val="0"/>
              </a:spcAft>
              <a:buClr>
                <a:srgbClr val="999999"/>
              </a:buClr>
              <a:buSzPts val="1300"/>
              <a:buFont typeface="Nunito Light"/>
              <a:buChar char="●"/>
              <a:defRPr/>
            </a:lvl7pPr>
            <a:lvl8pPr lvl="7" algn="ctr" rtl="0">
              <a:lnSpc>
                <a:spcPct val="115000"/>
              </a:lnSpc>
              <a:spcBef>
                <a:spcPts val="0"/>
              </a:spcBef>
              <a:spcAft>
                <a:spcPts val="0"/>
              </a:spcAft>
              <a:buClr>
                <a:srgbClr val="999999"/>
              </a:buClr>
              <a:buSzPts val="1300"/>
              <a:buFont typeface="Nunito Light"/>
              <a:buChar char="○"/>
              <a:defRPr/>
            </a:lvl8pPr>
            <a:lvl9pPr lvl="8" algn="ctr" rtl="0">
              <a:lnSpc>
                <a:spcPct val="115000"/>
              </a:lnSpc>
              <a:spcBef>
                <a:spcPts val="0"/>
              </a:spcBef>
              <a:spcAft>
                <a:spcPts val="0"/>
              </a:spcAft>
              <a:buClr>
                <a:srgbClr val="999999"/>
              </a:buClr>
              <a:buSzPts val="1400"/>
              <a:buFont typeface="Nunito Light"/>
              <a:buChar char="■"/>
              <a:defRPr/>
            </a:lvl9pPr>
          </a:lstStyle>
          <a:p>
            <a:endParaRPr/>
          </a:p>
        </p:txBody>
      </p:sp>
      <p:sp>
        <p:nvSpPr>
          <p:cNvPr id="2" name="Google Shape;88;p6">
            <a:extLst>
              <a:ext uri="{FF2B5EF4-FFF2-40B4-BE49-F238E27FC236}">
                <a16:creationId xmlns:a16="http://schemas.microsoft.com/office/drawing/2014/main" id="{40CD9D3D-1B30-4252-0588-4F6F448A5892}"/>
              </a:ext>
            </a:extLst>
          </p:cNvPr>
          <p:cNvSpPr/>
          <p:nvPr userDrawn="1"/>
        </p:nvSpPr>
        <p:spPr>
          <a:xfrm>
            <a:off x="6402251" y="9649315"/>
            <a:ext cx="1699812" cy="1689246"/>
          </a:xfrm>
          <a:prstGeom prst="ellipse">
            <a:avLst/>
          </a:prstGeom>
          <a:solidFill>
            <a:schemeClr val="accent5">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3" name="Foliennummernplatzhalter 1">
            <a:extLst>
              <a:ext uri="{FF2B5EF4-FFF2-40B4-BE49-F238E27FC236}">
                <a16:creationId xmlns:a16="http://schemas.microsoft.com/office/drawing/2014/main" id="{84F07C89-F943-7807-269A-351F118DA317}"/>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four columns">
  <p:cSld name="CUSTOM_5">
    <p:spTree>
      <p:nvGrpSpPr>
        <p:cNvPr id="1" name="Shape 159"/>
        <p:cNvGrpSpPr/>
        <p:nvPr/>
      </p:nvGrpSpPr>
      <p:grpSpPr>
        <a:xfrm>
          <a:off x="0" y="0"/>
          <a:ext cx="0" cy="0"/>
          <a:chOff x="0" y="0"/>
          <a:chExt cx="0" cy="0"/>
        </a:xfrm>
      </p:grpSpPr>
      <p:grpSp>
        <p:nvGrpSpPr>
          <p:cNvPr id="160" name="Google Shape;160;p14"/>
          <p:cNvGrpSpPr/>
          <p:nvPr/>
        </p:nvGrpSpPr>
        <p:grpSpPr>
          <a:xfrm>
            <a:off x="-5217" y="-873783"/>
            <a:ext cx="7564106" cy="12340641"/>
            <a:chOff x="-6310" y="-420350"/>
            <a:chExt cx="9149360" cy="5936700"/>
          </a:xfrm>
        </p:grpSpPr>
        <p:grpSp>
          <p:nvGrpSpPr>
            <p:cNvPr id="161" name="Google Shape;161;p14"/>
            <p:cNvGrpSpPr/>
            <p:nvPr/>
          </p:nvGrpSpPr>
          <p:grpSpPr>
            <a:xfrm>
              <a:off x="7798852" y="-39350"/>
              <a:ext cx="1344198" cy="5555700"/>
              <a:chOff x="7798852" y="-39350"/>
              <a:chExt cx="1344198" cy="5555700"/>
            </a:xfrm>
          </p:grpSpPr>
          <p:sp>
            <p:nvSpPr>
              <p:cNvPr id="162" name="Google Shape;162;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63" name="Google Shape;163;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4" name="Google Shape;164;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5" name="Google Shape;165;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6" name="Google Shape;166;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67" name="Google Shape;167;p14"/>
              <p:cNvCxnSpPr/>
              <p:nvPr/>
            </p:nvCxnSpPr>
            <p:spPr>
              <a:xfrm>
                <a:off x="8099950" y="278675"/>
                <a:ext cx="1043100" cy="0"/>
              </a:xfrm>
              <a:prstGeom prst="straightConnector1">
                <a:avLst/>
              </a:prstGeom>
              <a:noFill/>
              <a:ln w="9525" cap="flat" cmpd="sng">
                <a:solidFill>
                  <a:schemeClr val="dk1"/>
                </a:solidFill>
                <a:prstDash val="solid"/>
                <a:round/>
                <a:headEnd type="none" w="med" len="med"/>
                <a:tailEnd type="none" w="med" len="med"/>
              </a:ln>
            </p:spPr>
          </p:cxnSp>
          <p:cxnSp>
            <p:nvCxnSpPr>
              <p:cNvPr id="168" name="Google Shape;168;p14"/>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grpSp>
          <p:nvGrpSpPr>
            <p:cNvPr id="169" name="Google Shape;169;p14"/>
            <p:cNvGrpSpPr/>
            <p:nvPr/>
          </p:nvGrpSpPr>
          <p:grpSpPr>
            <a:xfrm rot="10800000">
              <a:off x="-6310" y="-420350"/>
              <a:ext cx="1361898" cy="5566800"/>
              <a:chOff x="7798852" y="-50450"/>
              <a:chExt cx="1361898" cy="5566800"/>
            </a:xfrm>
          </p:grpSpPr>
          <p:sp>
            <p:nvSpPr>
              <p:cNvPr id="170" name="Google Shape;170;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1" name="Google Shape;171;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2" name="Google Shape;172;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3" name="Google Shape;173;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4" name="Google Shape;174;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75" name="Google Shape;175;p14"/>
              <p:cNvCxnSpPr/>
              <p:nvPr/>
            </p:nvCxnSpPr>
            <p:spPr>
              <a:xfrm>
                <a:off x="8099950" y="278675"/>
                <a:ext cx="1060800" cy="0"/>
              </a:xfrm>
              <a:prstGeom prst="straightConnector1">
                <a:avLst/>
              </a:prstGeom>
              <a:noFill/>
              <a:ln w="9525" cap="flat" cmpd="sng">
                <a:solidFill>
                  <a:schemeClr val="dk1"/>
                </a:solidFill>
                <a:prstDash val="solid"/>
                <a:round/>
                <a:headEnd type="none" w="med" len="med"/>
                <a:tailEnd type="none" w="med" len="med"/>
              </a:ln>
            </p:spPr>
          </p:cxnSp>
          <p:cxnSp>
            <p:nvCxnSpPr>
              <p:cNvPr id="176" name="Google Shape;176;p14"/>
              <p:cNvCxnSpPr/>
              <p:nvPr/>
            </p:nvCxnSpPr>
            <p:spPr>
              <a:xfrm rot="10800000">
                <a:off x="8805875" y="-50450"/>
                <a:ext cx="0" cy="4390200"/>
              </a:xfrm>
              <a:prstGeom prst="straightConnector1">
                <a:avLst/>
              </a:prstGeom>
              <a:noFill/>
              <a:ln w="9525" cap="flat" cmpd="sng">
                <a:solidFill>
                  <a:schemeClr val="dk1"/>
                </a:solidFill>
                <a:prstDash val="solid"/>
                <a:round/>
                <a:headEnd type="none" w="med" len="med"/>
                <a:tailEnd type="none" w="med" len="med"/>
              </a:ln>
            </p:spPr>
          </p:cxnSp>
        </p:grpSp>
      </p:grpSp>
      <p:sp>
        <p:nvSpPr>
          <p:cNvPr id="177" name="Google Shape;177;p14"/>
          <p:cNvSpPr/>
          <p:nvPr/>
        </p:nvSpPr>
        <p:spPr>
          <a:xfrm>
            <a:off x="2789304" y="-1433106"/>
            <a:ext cx="1837834" cy="2033800"/>
          </a:xfrm>
          <a:prstGeom prst="ellipse">
            <a:avLst/>
          </a:prstGeom>
          <a:solidFill>
            <a:schemeClr val="accent5">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8" name="Google Shape;178;p14"/>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79" name="Google Shape;179;p14"/>
          <p:cNvSpPr txBox="1">
            <a:spLocks noGrp="1"/>
          </p:cNvSpPr>
          <p:nvPr>
            <p:ph type="subTitle" idx="1"/>
          </p:nvPr>
        </p:nvSpPr>
        <p:spPr>
          <a:xfrm>
            <a:off x="1318896"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0" name="Google Shape;180;p14"/>
          <p:cNvSpPr txBox="1">
            <a:spLocks noGrp="1"/>
          </p:cNvSpPr>
          <p:nvPr>
            <p:ph type="subTitle" idx="2"/>
          </p:nvPr>
        </p:nvSpPr>
        <p:spPr>
          <a:xfrm>
            <a:off x="1318896"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1" name="Google Shape;181;p14"/>
          <p:cNvSpPr txBox="1">
            <a:spLocks noGrp="1"/>
          </p:cNvSpPr>
          <p:nvPr>
            <p:ph type="subTitle" idx="3"/>
          </p:nvPr>
        </p:nvSpPr>
        <p:spPr>
          <a:xfrm>
            <a:off x="4546017"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2" name="Google Shape;182;p14"/>
          <p:cNvSpPr txBox="1">
            <a:spLocks noGrp="1"/>
          </p:cNvSpPr>
          <p:nvPr>
            <p:ph type="subTitle" idx="4"/>
          </p:nvPr>
        </p:nvSpPr>
        <p:spPr>
          <a:xfrm>
            <a:off x="4546037"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3" name="Google Shape;183;p14"/>
          <p:cNvSpPr txBox="1">
            <a:spLocks noGrp="1"/>
          </p:cNvSpPr>
          <p:nvPr>
            <p:ph type="title" idx="5" hasCustomPrompt="1"/>
          </p:nvPr>
        </p:nvSpPr>
        <p:spPr>
          <a:xfrm>
            <a:off x="596407" y="3051117"/>
            <a:ext cx="543166" cy="1803483"/>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5">
                    <a:lumMod val="50000"/>
                  </a:schemeClr>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4" name="Google Shape;184;p14"/>
          <p:cNvSpPr txBox="1">
            <a:spLocks noGrp="1"/>
          </p:cNvSpPr>
          <p:nvPr>
            <p:ph type="title" idx="6" hasCustomPrompt="1"/>
          </p:nvPr>
        </p:nvSpPr>
        <p:spPr>
          <a:xfrm>
            <a:off x="3823592" y="3051117"/>
            <a:ext cx="543166" cy="1803483"/>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5">
                    <a:lumMod val="50000"/>
                  </a:schemeClr>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5" name="Google Shape;185;p14"/>
          <p:cNvSpPr txBox="1">
            <a:spLocks noGrp="1"/>
          </p:cNvSpPr>
          <p:nvPr>
            <p:ph type="title" idx="7" hasCustomPrompt="1"/>
          </p:nvPr>
        </p:nvSpPr>
        <p:spPr>
          <a:xfrm>
            <a:off x="596407" y="6525987"/>
            <a:ext cx="543166" cy="1803483"/>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5">
                    <a:lumMod val="50000"/>
                  </a:schemeClr>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6" name="Google Shape;186;p14"/>
          <p:cNvSpPr txBox="1">
            <a:spLocks noGrp="1"/>
          </p:cNvSpPr>
          <p:nvPr>
            <p:ph type="title" idx="8" hasCustomPrompt="1"/>
          </p:nvPr>
        </p:nvSpPr>
        <p:spPr>
          <a:xfrm>
            <a:off x="3823592" y="6525987"/>
            <a:ext cx="543166" cy="1803483"/>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5">
                    <a:lumMod val="50000"/>
                  </a:schemeClr>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7" name="Google Shape;187;p14"/>
          <p:cNvSpPr txBox="1">
            <a:spLocks noGrp="1"/>
          </p:cNvSpPr>
          <p:nvPr>
            <p:ph type="subTitle" idx="9"/>
          </p:nvPr>
        </p:nvSpPr>
        <p:spPr>
          <a:xfrm>
            <a:off x="1318896" y="3051117"/>
            <a:ext cx="2423908" cy="181408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8" name="Google Shape;188;p14"/>
          <p:cNvSpPr txBox="1">
            <a:spLocks noGrp="1"/>
          </p:cNvSpPr>
          <p:nvPr>
            <p:ph type="subTitle" idx="13"/>
          </p:nvPr>
        </p:nvSpPr>
        <p:spPr>
          <a:xfrm>
            <a:off x="1318851"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9" name="Google Shape;189;p14"/>
          <p:cNvSpPr txBox="1">
            <a:spLocks noGrp="1"/>
          </p:cNvSpPr>
          <p:nvPr>
            <p:ph type="subTitle" idx="14"/>
          </p:nvPr>
        </p:nvSpPr>
        <p:spPr>
          <a:xfrm>
            <a:off x="4546015" y="305111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90" name="Google Shape;190;p14"/>
          <p:cNvSpPr txBox="1">
            <a:spLocks noGrp="1"/>
          </p:cNvSpPr>
          <p:nvPr>
            <p:ph type="subTitle" idx="15"/>
          </p:nvPr>
        </p:nvSpPr>
        <p:spPr>
          <a:xfrm>
            <a:off x="4546037"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 name="Foliennummernplatzhalter 1">
            <a:extLst>
              <a:ext uri="{FF2B5EF4-FFF2-40B4-BE49-F238E27FC236}">
                <a16:creationId xmlns:a16="http://schemas.microsoft.com/office/drawing/2014/main" id="{05F9729A-C430-9D6B-A555-EFC7E6860562}"/>
              </a:ext>
            </a:extLst>
          </p:cNvPr>
          <p:cNvSpPr>
            <a:spLocks noGrp="1"/>
          </p:cNvSpPr>
          <p:nvPr>
            <p:ph type="sldNum" sz="quarter" idx="16"/>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2">
  <p:cSld name="CUSTOM_11">
    <p:spTree>
      <p:nvGrpSpPr>
        <p:cNvPr id="1" name="Shape 227"/>
        <p:cNvGrpSpPr/>
        <p:nvPr/>
      </p:nvGrpSpPr>
      <p:grpSpPr>
        <a:xfrm>
          <a:off x="0" y="0"/>
          <a:ext cx="0" cy="0"/>
          <a:chOff x="0" y="0"/>
          <a:chExt cx="0" cy="0"/>
        </a:xfrm>
      </p:grpSpPr>
      <p:sp>
        <p:nvSpPr>
          <p:cNvPr id="230" name="Google Shape;230;p17"/>
          <p:cNvSpPr/>
          <p:nvPr/>
        </p:nvSpPr>
        <p:spPr>
          <a:xfrm rot="5400000">
            <a:off x="4994824" y="1486211"/>
            <a:ext cx="4639101" cy="651486"/>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3" name="Gruppieren 2">
            <a:extLst>
              <a:ext uri="{FF2B5EF4-FFF2-40B4-BE49-F238E27FC236}">
                <a16:creationId xmlns:a16="http://schemas.microsoft.com/office/drawing/2014/main" id="{AD36951E-86A1-C742-8A78-9F5786BFD1D6}"/>
              </a:ext>
            </a:extLst>
          </p:cNvPr>
          <p:cNvGrpSpPr/>
          <p:nvPr userDrawn="1"/>
        </p:nvGrpSpPr>
        <p:grpSpPr>
          <a:xfrm>
            <a:off x="6834575" y="4131505"/>
            <a:ext cx="308112" cy="448280"/>
            <a:chOff x="6536033" y="3990716"/>
            <a:chExt cx="257092" cy="630093"/>
          </a:xfrm>
        </p:grpSpPr>
        <p:sp>
          <p:nvSpPr>
            <p:cNvPr id="231" name="Google Shape;231;p17"/>
            <p:cNvSpPr/>
            <p:nvPr/>
          </p:nvSpPr>
          <p:spPr>
            <a:xfrm rot="5400000">
              <a:off x="6464576" y="4077731"/>
              <a:ext cx="395808" cy="22177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2" name="Google Shape;232;p17"/>
            <p:cNvSpPr/>
            <p:nvPr/>
          </p:nvSpPr>
          <p:spPr>
            <a:xfrm rot="5400000">
              <a:off x="6634202" y="4288355"/>
              <a:ext cx="60754" cy="257092"/>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3" name="Google Shape;233;p17"/>
            <p:cNvSpPr/>
            <p:nvPr/>
          </p:nvSpPr>
          <p:spPr>
            <a:xfrm rot="5400000">
              <a:off x="6525704" y="4516385"/>
              <a:ext cx="173530" cy="3531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4" name="Google Shape;234;p17"/>
            <p:cNvSpPr/>
            <p:nvPr/>
          </p:nvSpPr>
          <p:spPr>
            <a:xfrm rot="5400000">
              <a:off x="6629800" y="4516262"/>
              <a:ext cx="173530" cy="35563"/>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35" name="Google Shape;235;p17"/>
          <p:cNvSpPr/>
          <p:nvPr/>
        </p:nvSpPr>
        <p:spPr>
          <a:xfrm>
            <a:off x="7056668" y="8979169"/>
            <a:ext cx="1660372"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7" name="Google Shape;237;p17"/>
          <p:cNvSpPr/>
          <p:nvPr/>
        </p:nvSpPr>
        <p:spPr>
          <a:xfrm>
            <a:off x="-2579530" y="4530324"/>
            <a:ext cx="3168231" cy="3276875"/>
          </a:xfrm>
          <a:prstGeom prst="ellipse">
            <a:avLst/>
          </a:prstGeom>
          <a:solidFill>
            <a:schemeClr val="accent5">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8" name="Google Shape;238;p17"/>
          <p:cNvSpPr/>
          <p:nvPr/>
        </p:nvSpPr>
        <p:spPr>
          <a:xfrm>
            <a:off x="1935513" y="10198586"/>
            <a:ext cx="2216762" cy="2341297"/>
          </a:xfrm>
          <a:prstGeom prst="ellipse">
            <a:avLst/>
          </a:prstGeom>
          <a:solidFill>
            <a:schemeClr val="accent5">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9" name="Google Shape;239;p17"/>
          <p:cNvSpPr txBox="1">
            <a:spLocks noGrp="1"/>
          </p:cNvSpPr>
          <p:nvPr>
            <p:ph type="title"/>
          </p:nvPr>
        </p:nvSpPr>
        <p:spPr>
          <a:xfrm>
            <a:off x="589649" y="1121461"/>
            <a:ext cx="6380336" cy="1190474"/>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 name="Foliennummernplatzhalter 1">
            <a:extLst>
              <a:ext uri="{FF2B5EF4-FFF2-40B4-BE49-F238E27FC236}">
                <a16:creationId xmlns:a16="http://schemas.microsoft.com/office/drawing/2014/main" id="{85BE7F40-CAD6-48E9-7635-3D6DCE984FFC}"/>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250"/>
        <p:cNvGrpSpPr/>
        <p:nvPr/>
      </p:nvGrpSpPr>
      <p:grpSpPr>
        <a:xfrm>
          <a:off x="0" y="0"/>
          <a:ext cx="0" cy="0"/>
          <a:chOff x="0" y="0"/>
          <a:chExt cx="0" cy="0"/>
        </a:xfrm>
      </p:grpSpPr>
      <p:grpSp>
        <p:nvGrpSpPr>
          <p:cNvPr id="251" name="Google Shape;251;p19"/>
          <p:cNvGrpSpPr/>
          <p:nvPr/>
        </p:nvGrpSpPr>
        <p:grpSpPr>
          <a:xfrm>
            <a:off x="-1371575" y="3035427"/>
            <a:ext cx="10329592" cy="4620959"/>
            <a:chOff x="-1659025" y="1793600"/>
            <a:chExt cx="12494425" cy="2223000"/>
          </a:xfrm>
        </p:grpSpPr>
        <p:sp>
          <p:nvSpPr>
            <p:cNvPr id="252" name="Google Shape;252;p19"/>
            <p:cNvSpPr/>
            <p:nvPr/>
          </p:nvSpPr>
          <p:spPr>
            <a:xfrm>
              <a:off x="-1659025" y="1793600"/>
              <a:ext cx="2223000" cy="2223000"/>
            </a:xfrm>
            <a:prstGeom prst="ellipse">
              <a:avLst/>
            </a:prstGeom>
            <a:solidFill>
              <a:schemeClr val="accent5">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53" name="Google Shape;253;p19"/>
            <p:cNvSpPr/>
            <p:nvPr/>
          </p:nvSpPr>
          <p:spPr>
            <a:xfrm>
              <a:off x="8612400" y="1793600"/>
              <a:ext cx="2223000" cy="2223000"/>
            </a:xfrm>
            <a:prstGeom prst="ellipse">
              <a:avLst/>
            </a:prstGeom>
            <a:solidFill>
              <a:schemeClr val="accent5">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grpSp>
        <p:nvGrpSpPr>
          <p:cNvPr id="258" name="Google Shape;258;p19"/>
          <p:cNvGrpSpPr/>
          <p:nvPr/>
        </p:nvGrpSpPr>
        <p:grpSpPr>
          <a:xfrm>
            <a:off x="-777550" y="8248148"/>
            <a:ext cx="2095652" cy="1834976"/>
            <a:chOff x="-96030" y="3967928"/>
            <a:chExt cx="2534850" cy="882750"/>
          </a:xfrm>
        </p:grpSpPr>
        <p:sp>
          <p:nvSpPr>
            <p:cNvPr id="259" name="Google Shape;259;p19"/>
            <p:cNvSpPr/>
            <p:nvPr/>
          </p:nvSpPr>
          <p:spPr>
            <a:xfrm>
              <a:off x="-96030" y="3967928"/>
              <a:ext cx="2231728" cy="792270"/>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0" name="Google Shape;260;p19"/>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1" name="Google Shape;261;p19"/>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2" name="Google Shape;262;p19"/>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3" name="Google Shape;263;p19"/>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64" name="Google Shape;264;p19"/>
          <p:cNvSpPr/>
          <p:nvPr/>
        </p:nvSpPr>
        <p:spPr>
          <a:xfrm>
            <a:off x="7110364" y="9274762"/>
            <a:ext cx="972738"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65" name="Google Shape;265;p19"/>
          <p:cNvGrpSpPr/>
          <p:nvPr/>
        </p:nvGrpSpPr>
        <p:grpSpPr>
          <a:xfrm>
            <a:off x="581447" y="902707"/>
            <a:ext cx="1845050" cy="1779786"/>
            <a:chOff x="285100" y="445225"/>
            <a:chExt cx="856200" cy="856200"/>
          </a:xfrm>
        </p:grpSpPr>
        <p:sp>
          <p:nvSpPr>
            <p:cNvPr id="266" name="Google Shape;266;p19"/>
            <p:cNvSpPr/>
            <p:nvPr/>
          </p:nvSpPr>
          <p:spPr>
            <a:xfrm>
              <a:off x="506762" y="579382"/>
              <a:ext cx="412876" cy="587885"/>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7" name="Google Shape;267;p19"/>
            <p:cNvSpPr/>
            <p:nvPr/>
          </p:nvSpPr>
          <p:spPr>
            <a:xfrm>
              <a:off x="285100" y="445225"/>
              <a:ext cx="856200" cy="856200"/>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sp>
        <p:nvSpPr>
          <p:cNvPr id="2" name="Foliennummernplatzhalter 1">
            <a:extLst>
              <a:ext uri="{FF2B5EF4-FFF2-40B4-BE49-F238E27FC236}">
                <a16:creationId xmlns:a16="http://schemas.microsoft.com/office/drawing/2014/main" id="{827DF1D1-0716-FA36-B871-C258DC442CF2}"/>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240"/>
        <p:cNvGrpSpPr/>
        <p:nvPr/>
      </p:nvGrpSpPr>
      <p:grpSpPr>
        <a:xfrm>
          <a:off x="0" y="0"/>
          <a:ext cx="0" cy="0"/>
          <a:chOff x="0" y="0"/>
          <a:chExt cx="0" cy="0"/>
        </a:xfrm>
      </p:grpSpPr>
      <p:grpSp>
        <p:nvGrpSpPr>
          <p:cNvPr id="241" name="Google Shape;241;p18"/>
          <p:cNvGrpSpPr/>
          <p:nvPr/>
        </p:nvGrpSpPr>
        <p:grpSpPr>
          <a:xfrm>
            <a:off x="-1494845" y="925491"/>
            <a:ext cx="3236181" cy="6531807"/>
            <a:chOff x="-612725" y="445225"/>
            <a:chExt cx="1754025" cy="3142250"/>
          </a:xfrm>
        </p:grpSpPr>
        <p:grpSp>
          <p:nvGrpSpPr>
            <p:cNvPr id="242" name="Google Shape;242;p18"/>
            <p:cNvGrpSpPr/>
            <p:nvPr/>
          </p:nvGrpSpPr>
          <p:grpSpPr>
            <a:xfrm>
              <a:off x="285100" y="445225"/>
              <a:ext cx="856200" cy="856200"/>
              <a:chOff x="285100" y="445225"/>
              <a:chExt cx="856200" cy="856200"/>
            </a:xfrm>
          </p:grpSpPr>
          <p:sp>
            <p:nvSpPr>
              <p:cNvPr id="243" name="Google Shape;243;p18"/>
              <p:cNvSpPr/>
              <p:nvPr/>
            </p:nvSpPr>
            <p:spPr>
              <a:xfrm>
                <a:off x="285100" y="445225"/>
                <a:ext cx="856200" cy="856200"/>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44" name="Google Shape;244;p18"/>
              <p:cNvSpPr/>
              <p:nvPr/>
            </p:nvSpPr>
            <p:spPr>
              <a:xfrm>
                <a:off x="506762" y="579382"/>
                <a:ext cx="412876" cy="587885"/>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45" name="Google Shape;245;p18"/>
            <p:cNvSpPr/>
            <p:nvPr/>
          </p:nvSpPr>
          <p:spPr>
            <a:xfrm>
              <a:off x="-612725" y="3303075"/>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sp>
        <p:nvSpPr>
          <p:cNvPr id="246" name="Google Shape;246;p18"/>
          <p:cNvSpPr/>
          <p:nvPr/>
        </p:nvSpPr>
        <p:spPr>
          <a:xfrm>
            <a:off x="7351730" y="1921398"/>
            <a:ext cx="1837834" cy="4620959"/>
          </a:xfrm>
          <a:prstGeom prst="ellipse">
            <a:avLst/>
          </a:prstGeom>
          <a:solidFill>
            <a:schemeClr val="accent5">
              <a:alpha val="1950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47" name="Google Shape;247;p18"/>
          <p:cNvSpPr txBox="1">
            <a:spLocks noGrp="1"/>
          </p:cNvSpPr>
          <p:nvPr>
            <p:ph type="title"/>
          </p:nvPr>
        </p:nvSpPr>
        <p:spPr>
          <a:xfrm>
            <a:off x="2925833" y="1121461"/>
            <a:ext cx="4044228" cy="2200724"/>
          </a:xfrm>
          <a:prstGeom prst="rect">
            <a:avLst/>
          </a:prstGeom>
        </p:spPr>
        <p:txBody>
          <a:bodyPr spcFirstLastPara="1" wrap="square" lIns="91425" tIns="91425" rIns="91425" bIns="91425" anchor="b" anchorCtr="0">
            <a:noAutofit/>
          </a:bodyPr>
          <a:lstStyle>
            <a:lvl1pPr lvl="0" rtl="0">
              <a:spcBef>
                <a:spcPts val="0"/>
              </a:spcBef>
              <a:spcAft>
                <a:spcPts val="0"/>
              </a:spcAft>
              <a:buSzPts val="2800"/>
              <a:buNone/>
              <a:defRPr sz="496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8" name="Google Shape;248;p18"/>
          <p:cNvSpPr txBox="1">
            <a:spLocks noGrp="1"/>
          </p:cNvSpPr>
          <p:nvPr>
            <p:ph type="subTitle" idx="1"/>
          </p:nvPr>
        </p:nvSpPr>
        <p:spPr>
          <a:xfrm>
            <a:off x="2925798" y="3322184"/>
            <a:ext cx="4044228" cy="148419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49" name="Google Shape;249;p18"/>
          <p:cNvSpPr txBox="1"/>
          <p:nvPr/>
        </p:nvSpPr>
        <p:spPr>
          <a:xfrm>
            <a:off x="2925798" y="7053977"/>
            <a:ext cx="3363907" cy="1484195"/>
          </a:xfrm>
          <a:prstGeom prst="rect">
            <a:avLst/>
          </a:prstGeom>
          <a:noFill/>
          <a:ln>
            <a:noFill/>
          </a:ln>
        </p:spPr>
        <p:txBody>
          <a:bodyPr spcFirstLastPara="1" wrap="square" lIns="75584" tIns="75584" rIns="75584" bIns="75584" anchor="t" anchorCtr="0">
            <a:noAutofit/>
          </a:bodyPr>
          <a:lstStyle/>
          <a:p>
            <a:pPr marL="0" lvl="0" indent="0" algn="l" rtl="0">
              <a:lnSpc>
                <a:spcPct val="115000"/>
              </a:lnSpc>
              <a:spcBef>
                <a:spcPts val="0"/>
              </a:spcBef>
              <a:spcAft>
                <a:spcPts val="0"/>
              </a:spcAft>
              <a:buNone/>
            </a:pPr>
            <a:r>
              <a:rPr lang="en" sz="992" b="1">
                <a:solidFill>
                  <a:schemeClr val="dk1"/>
                </a:solidFill>
                <a:latin typeface="Sofia Sans"/>
                <a:ea typeface="Sofia Sans"/>
                <a:cs typeface="Sofia Sans"/>
                <a:sym typeface="Sofia Sans"/>
              </a:rPr>
              <a:t>CREDITS:</a:t>
            </a:r>
            <a:r>
              <a:rPr lang="en" sz="992">
                <a:solidFill>
                  <a:schemeClr val="dk1"/>
                </a:solidFill>
                <a:latin typeface="Sofia Sans"/>
                <a:ea typeface="Sofia Sans"/>
                <a:cs typeface="Sofia Sans"/>
                <a:sym typeface="Sofia Sans"/>
              </a:rPr>
              <a:t> This presentation template was created by </a:t>
            </a:r>
            <a:r>
              <a:rPr lang="en" sz="992" b="1" u="sng">
                <a:solidFill>
                  <a:schemeClr val="dk1"/>
                </a:solidFill>
                <a:latin typeface="Sofia Sans"/>
                <a:ea typeface="Sofia Sans"/>
                <a:cs typeface="Sofia Sans"/>
                <a:sym typeface="Sofia Sans"/>
                <a:hlinkClick r:id="rId2">
                  <a:extLst>
                    <a:ext uri="{A12FA001-AC4F-418D-AE19-62706E023703}">
                      <ahyp:hlinkClr xmlns:ahyp="http://schemas.microsoft.com/office/drawing/2018/hyperlinkcolor" val="tx"/>
                    </a:ext>
                  </a:extLst>
                </a:hlinkClick>
              </a:rPr>
              <a:t>Slidesgo</a:t>
            </a:r>
            <a:r>
              <a:rPr lang="en" sz="992">
                <a:solidFill>
                  <a:schemeClr val="dk1"/>
                </a:solidFill>
                <a:latin typeface="Sofia Sans"/>
                <a:ea typeface="Sofia Sans"/>
                <a:cs typeface="Sofia Sans"/>
                <a:sym typeface="Sofia Sans"/>
              </a:rPr>
              <a:t>, and includes icons by </a:t>
            </a:r>
            <a:r>
              <a:rPr lang="en" sz="992" b="1" u="sng">
                <a:solidFill>
                  <a:schemeClr val="dk1"/>
                </a:solidFill>
                <a:latin typeface="Sofia Sans"/>
                <a:ea typeface="Sofia Sans"/>
                <a:cs typeface="Sofia Sans"/>
                <a:sym typeface="Sofia Sans"/>
                <a:hlinkClick r:id="rId3">
                  <a:extLst>
                    <a:ext uri="{A12FA001-AC4F-418D-AE19-62706E023703}">
                      <ahyp:hlinkClr xmlns:ahyp="http://schemas.microsoft.com/office/drawing/2018/hyperlinkcolor" val="tx"/>
                    </a:ext>
                  </a:extLst>
                </a:hlinkClick>
              </a:rPr>
              <a:t>Flaticon</a:t>
            </a:r>
            <a:r>
              <a:rPr lang="en" sz="992">
                <a:solidFill>
                  <a:schemeClr val="dk1"/>
                </a:solidFill>
                <a:latin typeface="Sofia Sans"/>
                <a:ea typeface="Sofia Sans"/>
                <a:cs typeface="Sofia Sans"/>
                <a:sym typeface="Sofia Sans"/>
              </a:rPr>
              <a:t>, and infographics &amp; images by </a:t>
            </a:r>
            <a:r>
              <a:rPr lang="en" sz="992" b="1" u="sng">
                <a:solidFill>
                  <a:schemeClr val="dk1"/>
                </a:solidFill>
                <a:latin typeface="Sofia Sans"/>
                <a:ea typeface="Sofia Sans"/>
                <a:cs typeface="Sofia Sans"/>
                <a:sym typeface="Sofia Sans"/>
                <a:hlinkClick r:id="rId4">
                  <a:extLst>
                    <a:ext uri="{A12FA001-AC4F-418D-AE19-62706E023703}">
                      <ahyp:hlinkClr xmlns:ahyp="http://schemas.microsoft.com/office/drawing/2018/hyperlinkcolor" val="tx"/>
                    </a:ext>
                  </a:extLst>
                </a:hlinkClick>
              </a:rPr>
              <a:t>Freepik</a:t>
            </a:r>
            <a:r>
              <a:rPr lang="en" sz="992" u="sng">
                <a:solidFill>
                  <a:schemeClr val="dk1"/>
                </a:solidFill>
                <a:latin typeface="Sofia Sans"/>
                <a:ea typeface="Sofia Sans"/>
                <a:cs typeface="Sofia Sans"/>
                <a:sym typeface="Sofia Sans"/>
              </a:rPr>
              <a:t> </a:t>
            </a:r>
            <a:endParaRPr sz="992" b="1" u="sng">
              <a:solidFill>
                <a:schemeClr val="dk1"/>
              </a:solidFill>
              <a:latin typeface="Sofia Sans"/>
              <a:ea typeface="Sofia Sans"/>
              <a:cs typeface="Sofia Sans"/>
              <a:sym typeface="Sofia Sans"/>
            </a:endParaRPr>
          </a:p>
        </p:txBody>
      </p:sp>
    </p:spTree>
    <p:extLst>
      <p:ext uri="{BB962C8B-B14F-4D97-AF65-F5344CB8AC3E}">
        <p14:creationId xmlns:p14="http://schemas.microsoft.com/office/powerpoint/2010/main" val="83155020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rgbClr val="FFFFFF"/>
        </a:solidFill>
        <a:effectLst/>
      </p:bgPr>
    </p:bg>
    <p:spTree>
      <p:nvGrpSpPr>
        <p:cNvPr id="1" name="Shape 5"/>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0178D3-CD4B-EFFC-F2C7-37A47636BB4E}"/>
              </a:ext>
            </a:extLst>
          </p:cNvPr>
          <p:cNvGraphicFramePr>
            <a:graphicFrameLocks noChangeAspect="1"/>
          </p:cNvGraphicFramePr>
          <p:nvPr userDrawn="1">
            <p:custDataLst>
              <p:tags r:id="rId9"/>
            </p:custDataLst>
            <p:extLst>
              <p:ext uri="{D42A27DB-BD31-4B8C-83A1-F6EECF244321}">
                <p14:modId xmlns:p14="http://schemas.microsoft.com/office/powerpoint/2010/main" val="112125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25" imgH="426" progId="TCLayout.ActiveDocument.1">
                  <p:embed/>
                </p:oleObj>
              </mc:Choice>
              <mc:Fallback>
                <p:oleObj name="think-cell Folie" r:id="rId10" imgW="425" imgH="426" progId="TCLayout.ActiveDocument.1">
                  <p:embed/>
                  <p:pic>
                    <p:nvPicPr>
                      <p:cNvPr id="3" name="think-cell data - do not delete" hidden="1">
                        <a:extLst>
                          <a:ext uri="{FF2B5EF4-FFF2-40B4-BE49-F238E27FC236}">
                            <a16:creationId xmlns:a16="http://schemas.microsoft.com/office/drawing/2014/main" id="{350178D3-CD4B-EFFC-F2C7-37A47636BB4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589649" y="1121461"/>
            <a:ext cx="6380336" cy="1190474"/>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1pPr>
            <a:lvl2pPr lvl="1"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2pPr>
            <a:lvl3pPr lvl="2"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3pPr>
            <a:lvl4pPr lvl="3"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4pPr>
            <a:lvl5pPr lvl="4"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5pPr>
            <a:lvl6pPr lvl="5"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6pPr>
            <a:lvl7pPr lvl="6"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7pPr>
            <a:lvl8pPr lvl="7"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8pPr>
            <a:lvl9pPr lvl="8"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9pPr>
          </a:lstStyle>
          <a:p>
            <a:endParaRPr/>
          </a:p>
        </p:txBody>
      </p:sp>
      <p:sp>
        <p:nvSpPr>
          <p:cNvPr id="7" name="Google Shape;7;p1"/>
          <p:cNvSpPr txBox="1">
            <a:spLocks noGrp="1"/>
          </p:cNvSpPr>
          <p:nvPr>
            <p:ph type="body" idx="1"/>
          </p:nvPr>
        </p:nvSpPr>
        <p:spPr>
          <a:xfrm>
            <a:off x="589649" y="2395654"/>
            <a:ext cx="6380336" cy="7101684"/>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lt1"/>
              </a:buClr>
              <a:buSzPts val="1400"/>
              <a:buFont typeface="Sofia Sans"/>
              <a:buChar char="☐"/>
              <a:defRPr>
                <a:solidFill>
                  <a:schemeClr val="dk1"/>
                </a:solidFill>
                <a:latin typeface="Sofia Sans"/>
                <a:ea typeface="Sofia Sans"/>
                <a:cs typeface="Sofia Sans"/>
                <a:sym typeface="Sofia Sans"/>
              </a:defRPr>
            </a:lvl1pPr>
            <a:lvl2pPr marL="914400" lvl="1"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2pPr>
            <a:lvl3pPr marL="1371600" lvl="2"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3pPr>
            <a:lvl4pPr marL="1828800" lvl="3"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4pPr>
            <a:lvl5pPr marL="2286000" lvl="4"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5pPr>
            <a:lvl6pPr marL="2743200" lvl="5"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6pPr>
            <a:lvl7pPr marL="3200400" lvl="6"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7pPr>
            <a:lvl8pPr marL="3657600" lvl="7"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8pPr>
            <a:lvl9pPr marL="4114800" lvl="8"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9pPr>
          </a:lstStyle>
          <a:p>
            <a:endParaRPr/>
          </a:p>
        </p:txBody>
      </p:sp>
      <p:sp>
        <p:nvSpPr>
          <p:cNvPr id="2" name="Foliennummernplatzhalter 1">
            <a:extLst>
              <a:ext uri="{FF2B5EF4-FFF2-40B4-BE49-F238E27FC236}">
                <a16:creationId xmlns:a16="http://schemas.microsoft.com/office/drawing/2014/main" id="{FEC3EA53-ED81-6294-033F-89244D0AA930}"/>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3" r:id="rId3"/>
    <p:sldLayoutId id="2147483660" r:id="rId4"/>
    <p:sldLayoutId id="2147483663" r:id="rId5"/>
    <p:sldLayoutId id="2147483665" r:id="rId6"/>
    <p:sldLayoutId id="2147483670"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67" userDrawn="1">
          <p15:clr>
            <a:srgbClr val="F26B43"/>
          </p15:clr>
        </p15:guide>
        <p15:guide id="2" pos="23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5.xml"/><Relationship Id="rId5" Type="http://schemas.openxmlformats.org/officeDocument/2006/relationships/image" Target="../media/image9.sv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9.sv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25.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s/_rels/slide26.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28.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7.svg"/><Relationship Id="rId7" Type="http://schemas.openxmlformats.org/officeDocument/2006/relationships/image" Target="../media/image22.png"/><Relationship Id="rId2" Type="http://schemas.openxmlformats.org/officeDocument/2006/relationships/image" Target="../media/image6.png"/><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 Id="rId9" Type="http://schemas.openxmlformats.org/officeDocument/2006/relationships/image" Target="../media/image24.png"/></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27.jpeg"/><Relationship Id="rId4" Type="http://schemas.openxmlformats.org/officeDocument/2006/relationships/image" Target="../media/image2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29.jpeg"/><Relationship Id="rId4" Type="http://schemas.openxmlformats.org/officeDocument/2006/relationships/image" Target="../media/image28.jpeg"/></Relationships>
</file>

<file path=ppt/slides/_rels/slide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31.jpeg"/><Relationship Id="rId4" Type="http://schemas.openxmlformats.org/officeDocument/2006/relationships/image" Target="../media/image30.jpeg"/></Relationships>
</file>

<file path=ppt/slides/_rels/slide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4.xml"/><Relationship Id="rId5" Type="http://schemas.openxmlformats.org/officeDocument/2006/relationships/image" Target="../media/image41.jpeg"/><Relationship Id="rId4" Type="http://schemas.openxmlformats.org/officeDocument/2006/relationships/image" Target="../media/image40.jpeg"/></Relationships>
</file>

<file path=ppt/slides/_rels/slide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49.png"/><Relationship Id="rId4" Type="http://schemas.openxmlformats.org/officeDocument/2006/relationships/image" Target="../media/image45.png"/><Relationship Id="rId9" Type="http://schemas.openxmlformats.org/officeDocument/2006/relationships/image" Target="../media/image4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chart" Target="../charts/chart1.xml"/><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7.svg"/><Relationship Id="rId4" Type="http://schemas.openxmlformats.org/officeDocument/2006/relationships/image" Target="../media/image6.png"/></Relationships>
</file>

<file path=ppt/slides/_rels/slide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5.xml"/><Relationship Id="rId6" Type="http://schemas.openxmlformats.org/officeDocument/2006/relationships/image" Target="../media/image55.jpeg"/><Relationship Id="rId5" Type="http://schemas.openxmlformats.org/officeDocument/2006/relationships/image" Target="../media/image54.jpeg"/><Relationship Id="rId4" Type="http://schemas.microsoft.com/office/2007/relationships/hdphoto" Target="../media/hdphoto2.wdp"/></Relationships>
</file>

<file path=ppt/slides/_rels/slide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7.svg"/><Relationship Id="rId4" Type="http://schemas.openxmlformats.org/officeDocument/2006/relationships/image" Target="../media/image6.png"/></Relationships>
</file>

<file path=ppt/slides/_rels/slide57.xml.rels><?xml version="1.0" encoding="UTF-8" standalone="yes"?>
<Relationships xmlns="http://schemas.openxmlformats.org/package/2006/relationships"><Relationship Id="rId8" Type="http://schemas.openxmlformats.org/officeDocument/2006/relationships/image" Target="../media/image57.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4.xml"/><Relationship Id="rId6" Type="http://schemas.openxmlformats.org/officeDocument/2006/relationships/image" Target="../media/image53.png"/><Relationship Id="rId5" Type="http://schemas.microsoft.com/office/2007/relationships/hdphoto" Target="../media/hdphoto3.wdp"/><Relationship Id="rId4" Type="http://schemas.openxmlformats.org/officeDocument/2006/relationships/image" Target="../media/image56.png"/><Relationship Id="rId9" Type="http://schemas.microsoft.com/office/2007/relationships/hdphoto" Target="../media/hdphoto4.wdp"/></Relationships>
</file>

<file path=ppt/slides/_rels/slide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xml"/><Relationship Id="rId5" Type="http://schemas.openxmlformats.org/officeDocument/2006/relationships/image" Target="../media/image7.svg"/><Relationship Id="rId4" Type="http://schemas.openxmlformats.org/officeDocument/2006/relationships/image" Target="../media/image6.png"/></Relationships>
</file>

<file path=ppt/slides/_rels/slide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7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9.svg"/><Relationship Id="rId7" Type="http://schemas.openxmlformats.org/officeDocument/2006/relationships/image" Target="../media/image70.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69.png"/><Relationship Id="rId11" Type="http://schemas.openxmlformats.org/officeDocument/2006/relationships/image" Target="../media/image73.png"/><Relationship Id="rId5" Type="http://schemas.microsoft.com/office/2007/relationships/hdphoto" Target="../media/hdphoto5.wdp"/><Relationship Id="rId10" Type="http://schemas.openxmlformats.org/officeDocument/2006/relationships/image" Target="../media/image72.png"/><Relationship Id="rId4" Type="http://schemas.openxmlformats.org/officeDocument/2006/relationships/image" Target="../media/image68.png"/><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dice.virtuworld.net/" TargetMode="Externa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8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84.xml.rels><?xml version="1.0" encoding="UTF-8" standalone="yes"?>
<Relationships xmlns="http://schemas.openxmlformats.org/package/2006/relationships"><Relationship Id="rId3" Type="http://schemas.openxmlformats.org/officeDocument/2006/relationships/hyperlink" Target="mailto:youremail@freepik.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pic>
        <p:nvPicPr>
          <p:cNvPr id="4" name="Grafik 3" descr="Ein Bild, das Schrift, Grafiken, Symbol, Logo enthält.&#10;&#10;KI-generierte Inhalte können fehlerhaft sein.">
            <a:extLst>
              <a:ext uri="{FF2B5EF4-FFF2-40B4-BE49-F238E27FC236}">
                <a16:creationId xmlns:a16="http://schemas.microsoft.com/office/drawing/2014/main" id="{3B5B837C-842D-365C-6E27-65428FDDC767}"/>
              </a:ext>
            </a:extLst>
          </p:cNvPr>
          <p:cNvPicPr>
            <a:picLocks noChangeAspect="1"/>
          </p:cNvPicPr>
          <p:nvPr/>
        </p:nvPicPr>
        <p:blipFill>
          <a:blip r:embed="rId3"/>
          <a:stretch>
            <a:fillRect/>
          </a:stretch>
        </p:blipFill>
        <p:spPr>
          <a:xfrm>
            <a:off x="2727067" y="3701143"/>
            <a:ext cx="1497125" cy="1497125"/>
          </a:xfrm>
          <a:prstGeom prst="rect">
            <a:avLst/>
          </a:prstGeom>
        </p:spPr>
      </p:pic>
      <p:sp>
        <p:nvSpPr>
          <p:cNvPr id="7" name="Titel 2">
            <a:extLst>
              <a:ext uri="{FF2B5EF4-FFF2-40B4-BE49-F238E27FC236}">
                <a16:creationId xmlns:a16="http://schemas.microsoft.com/office/drawing/2014/main" id="{F29E2675-7678-DD35-4C47-2E2F36ADD36B}"/>
              </a:ext>
            </a:extLst>
          </p:cNvPr>
          <p:cNvSpPr txBox="1">
            <a:spLocks/>
          </p:cNvSpPr>
          <p:nvPr/>
        </p:nvSpPr>
        <p:spPr>
          <a:xfrm>
            <a:off x="2712632" y="6114268"/>
            <a:ext cx="3802468" cy="1389655"/>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191919"/>
              </a:buClr>
              <a:buSzPts val="4200"/>
              <a:buFont typeface="Epilogue"/>
              <a:buNone/>
              <a:defRPr sz="3472" b="1" i="0" u="none" strike="noStrike" cap="none">
                <a:solidFill>
                  <a:schemeClr val="dk1"/>
                </a:solidFill>
                <a:latin typeface="Epilogue"/>
                <a:ea typeface="Epilogue"/>
                <a:cs typeface="Epilogue"/>
                <a:sym typeface="Epilogue"/>
              </a:defRPr>
            </a:lvl1pPr>
            <a:lvl2pPr marR="0" lvl="1"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2pPr>
            <a:lvl3pPr marR="0" lvl="2"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3pPr>
            <a:lvl4pPr marR="0" lvl="3"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4pPr>
            <a:lvl5pPr marR="0" lvl="4"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5pPr>
            <a:lvl6pPr marR="0" lvl="5"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6pPr>
            <a:lvl7pPr marR="0" lvl="6"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7pPr>
            <a:lvl8pPr marR="0" lvl="7"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8pPr>
            <a:lvl9pPr marR="0" lvl="8"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9pPr>
          </a:lstStyle>
          <a:p>
            <a:r>
              <a:rPr lang="en-GB" sz="4000">
                <a:solidFill>
                  <a:srgbClr val="FFFFFF"/>
                </a:solidFill>
              </a:rPr>
              <a:t>Hydro Energy Education                     HUB</a:t>
            </a:r>
          </a:p>
        </p:txBody>
      </p:sp>
      <p:pic>
        <p:nvPicPr>
          <p:cNvPr id="2" name="Grafik 1" descr="Ein Bild, das Karte, Text, Kreis, Logo enthält.&#10;&#10;KI-generierte Inhalte können fehlerhaft sein.">
            <a:extLst>
              <a:ext uri="{FF2B5EF4-FFF2-40B4-BE49-F238E27FC236}">
                <a16:creationId xmlns:a16="http://schemas.microsoft.com/office/drawing/2014/main" id="{D3C7DDE1-CA83-DFCE-F90D-087941784807}"/>
              </a:ext>
            </a:extLst>
          </p:cNvPr>
          <p:cNvPicPr>
            <a:picLocks noChangeAspect="1"/>
          </p:cNvPicPr>
          <p:nvPr/>
        </p:nvPicPr>
        <p:blipFill>
          <a:blip r:embed="rId4"/>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97470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AC477-C48A-21ED-45DD-6464417AAD14}"/>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38A83FF-D0D3-E8BC-E751-8987E0470D89}"/>
              </a:ext>
            </a:extLst>
          </p:cNvPr>
          <p:cNvSpPr>
            <a:spLocks noGrp="1"/>
          </p:cNvSpPr>
          <p:nvPr>
            <p:ph type="sldNum" sz="quarter" idx="4"/>
          </p:nvPr>
        </p:nvSpPr>
        <p:spPr/>
        <p:txBody>
          <a:bodyPr/>
          <a:lstStyle/>
          <a:p>
            <a:fld id="{DF7F771E-9578-4C04-B869-01AF4C35C90C}" type="slidenum">
              <a:rPr lang="de-DE" smtClean="0"/>
              <a:t>10</a:t>
            </a:fld>
            <a:endParaRPr lang="de-DE"/>
          </a:p>
        </p:txBody>
      </p:sp>
      <p:sp>
        <p:nvSpPr>
          <p:cNvPr id="4" name="Titel 1">
            <a:extLst>
              <a:ext uri="{FF2B5EF4-FFF2-40B4-BE49-F238E27FC236}">
                <a16:creationId xmlns:a16="http://schemas.microsoft.com/office/drawing/2014/main" id="{93387F95-506F-1274-EB18-B52D68CF0DC3}"/>
              </a:ext>
            </a:extLst>
          </p:cNvPr>
          <p:cNvSpPr>
            <a:spLocks noGrp="1"/>
          </p:cNvSpPr>
          <p:nvPr>
            <p:ph type="title"/>
          </p:nvPr>
        </p:nvSpPr>
        <p:spPr>
          <a:xfrm>
            <a:off x="744078" y="1277938"/>
            <a:ext cx="6380336" cy="602768"/>
          </a:xfrm>
        </p:spPr>
        <p:txBody>
          <a:bodyPr/>
          <a:lstStyle/>
          <a:p>
            <a:r>
              <a:rPr lang="de-DE" err="1"/>
              <a:t>Where</a:t>
            </a:r>
            <a:r>
              <a:rPr lang="de-DE"/>
              <a:t> </a:t>
            </a:r>
            <a:r>
              <a:rPr lang="de-DE" err="1"/>
              <a:t>is</a:t>
            </a:r>
            <a:r>
              <a:rPr lang="de-DE"/>
              <a:t> </a:t>
            </a:r>
            <a:r>
              <a:rPr lang="de-DE" err="1"/>
              <a:t>Hydro</a:t>
            </a:r>
            <a:r>
              <a:rPr lang="de-DE"/>
              <a:t> Energy </a:t>
            </a:r>
            <a:r>
              <a:rPr lang="de-DE" err="1"/>
              <a:t>found</a:t>
            </a:r>
            <a:r>
              <a:rPr lang="de-DE"/>
              <a:t>?</a:t>
            </a:r>
          </a:p>
        </p:txBody>
      </p:sp>
      <p:sp>
        <p:nvSpPr>
          <p:cNvPr id="6" name="Untertitel 3">
            <a:extLst>
              <a:ext uri="{FF2B5EF4-FFF2-40B4-BE49-F238E27FC236}">
                <a16:creationId xmlns:a16="http://schemas.microsoft.com/office/drawing/2014/main" id="{C5E5003A-6C80-873A-998B-758E8B515BF9}"/>
              </a:ext>
            </a:extLst>
          </p:cNvPr>
          <p:cNvSpPr txBox="1">
            <a:spLocks/>
          </p:cNvSpPr>
          <p:nvPr/>
        </p:nvSpPr>
        <p:spPr>
          <a:xfrm>
            <a:off x="743029" y="1951100"/>
            <a:ext cx="5905275" cy="6996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de-DE" sz="1200">
                <a:solidFill>
                  <a:srgbClr val="000000"/>
                </a:solidFill>
              </a:rPr>
              <a:t>In </a:t>
            </a:r>
            <a:r>
              <a:rPr lang="de-DE" sz="1200" err="1">
                <a:solidFill>
                  <a:srgbClr val="000000"/>
                </a:solidFill>
              </a:rPr>
              <a:t>this</a:t>
            </a:r>
            <a:r>
              <a:rPr lang="de-DE" sz="1200">
                <a:solidFill>
                  <a:srgbClr val="000000"/>
                </a:solidFill>
              </a:rPr>
              <a:t> Challenge, </a:t>
            </a:r>
            <a:r>
              <a:rPr lang="de-DE" sz="1200" err="1">
                <a:solidFill>
                  <a:srgbClr val="000000"/>
                </a:solidFill>
              </a:rPr>
              <a:t>you</a:t>
            </a:r>
            <a:r>
              <a:rPr lang="de-DE" sz="1200">
                <a:solidFill>
                  <a:srgbClr val="000000"/>
                </a:solidFill>
              </a:rPr>
              <a:t> and </a:t>
            </a:r>
            <a:r>
              <a:rPr lang="de-DE" sz="1200" err="1">
                <a:solidFill>
                  <a:srgbClr val="000000"/>
                </a:solidFill>
              </a:rPr>
              <a:t>your</a:t>
            </a:r>
            <a:r>
              <a:rPr lang="de-DE" sz="1200">
                <a:solidFill>
                  <a:srgbClr val="000000"/>
                </a:solidFill>
              </a:rPr>
              <a:t> </a:t>
            </a:r>
            <a:r>
              <a:rPr lang="de-DE" sz="1200" err="1">
                <a:solidFill>
                  <a:srgbClr val="000000"/>
                </a:solidFill>
              </a:rPr>
              <a:t>team</a:t>
            </a:r>
            <a:r>
              <a:rPr lang="de-DE" sz="1200">
                <a:solidFill>
                  <a:srgbClr val="000000"/>
                </a:solidFill>
              </a:rPr>
              <a:t> will </a:t>
            </a:r>
            <a:r>
              <a:rPr lang="de-DE" sz="1200" err="1">
                <a:solidFill>
                  <a:srgbClr val="000000"/>
                </a:solidFill>
              </a:rPr>
              <a:t>explore</a:t>
            </a:r>
            <a:r>
              <a:rPr lang="de-DE" sz="1200">
                <a:solidFill>
                  <a:srgbClr val="000000"/>
                </a:solidFill>
              </a:rPr>
              <a:t> and </a:t>
            </a:r>
            <a:r>
              <a:rPr lang="de-DE" sz="1200" err="1">
                <a:solidFill>
                  <a:srgbClr val="000000"/>
                </a:solidFill>
              </a:rPr>
              <a:t>identify</a:t>
            </a:r>
            <a:r>
              <a:rPr lang="de-DE" sz="1200">
                <a:solidFill>
                  <a:srgbClr val="000000"/>
                </a:solidFill>
              </a:rPr>
              <a:t> potential </a:t>
            </a:r>
            <a:r>
              <a:rPr lang="de-DE" sz="1200" err="1">
                <a:solidFill>
                  <a:srgbClr val="000000"/>
                </a:solidFill>
              </a:rPr>
              <a:t>locations</a:t>
            </a:r>
            <a:r>
              <a:rPr lang="de-DE" sz="1200">
                <a:solidFill>
                  <a:srgbClr val="000000"/>
                </a:solidFill>
              </a:rPr>
              <a:t> </a:t>
            </a:r>
            <a:r>
              <a:rPr lang="de-DE" sz="1200" err="1">
                <a:solidFill>
                  <a:srgbClr val="000000"/>
                </a:solidFill>
              </a:rPr>
              <a:t>where</a:t>
            </a:r>
            <a:r>
              <a:rPr lang="de-DE" sz="1200">
                <a:solidFill>
                  <a:srgbClr val="000000"/>
                </a:solidFill>
              </a:rPr>
              <a:t>  </a:t>
            </a:r>
            <a:r>
              <a:rPr lang="de-DE" sz="1200" err="1">
                <a:solidFill>
                  <a:srgbClr val="000000"/>
                </a:solidFill>
              </a:rPr>
              <a:t>you</a:t>
            </a:r>
            <a:r>
              <a:rPr lang="de-DE" sz="1200">
                <a:solidFill>
                  <a:srgbClr val="000000"/>
                </a:solidFill>
              </a:rPr>
              <a:t> </a:t>
            </a:r>
            <a:r>
              <a:rPr lang="de-DE" sz="1200" err="1">
                <a:solidFill>
                  <a:srgbClr val="000000"/>
                </a:solidFill>
              </a:rPr>
              <a:t>would</a:t>
            </a:r>
            <a:r>
              <a:rPr lang="de-DE" sz="1200">
                <a:solidFill>
                  <a:srgbClr val="000000"/>
                </a:solidFill>
              </a:rPr>
              <a:t> </a:t>
            </a:r>
            <a:r>
              <a:rPr lang="de-DE" sz="1200" err="1">
                <a:solidFill>
                  <a:srgbClr val="000000"/>
                </a:solidFill>
              </a:rPr>
              <a:t>expect</a:t>
            </a:r>
            <a:r>
              <a:rPr lang="de-DE" sz="1200">
                <a:solidFill>
                  <a:srgbClr val="000000"/>
                </a:solidFill>
              </a:rPr>
              <a:t> </a:t>
            </a:r>
            <a:r>
              <a:rPr lang="de-DE" sz="1200" err="1">
                <a:solidFill>
                  <a:srgbClr val="000000"/>
                </a:solidFill>
              </a:rPr>
              <a:t>hydro</a:t>
            </a:r>
            <a:r>
              <a:rPr lang="de-DE" sz="1200">
                <a:solidFill>
                  <a:srgbClr val="000000"/>
                </a:solidFill>
              </a:rPr>
              <a:t> </a:t>
            </a:r>
            <a:r>
              <a:rPr lang="de-DE" sz="1200" err="1">
                <a:solidFill>
                  <a:srgbClr val="000000"/>
                </a:solidFill>
              </a:rPr>
              <a:t>energy</a:t>
            </a:r>
            <a:r>
              <a:rPr lang="de-DE" sz="1200">
                <a:solidFill>
                  <a:srgbClr val="000000"/>
                </a:solidFill>
              </a:rPr>
              <a:t> </a:t>
            </a:r>
            <a:r>
              <a:rPr lang="de-DE" sz="1200" err="1">
                <a:solidFill>
                  <a:srgbClr val="000000"/>
                </a:solidFill>
              </a:rPr>
              <a:t>to</a:t>
            </a:r>
            <a:r>
              <a:rPr lang="de-DE" sz="1200">
                <a:solidFill>
                  <a:srgbClr val="000000"/>
                </a:solidFill>
              </a:rPr>
              <a:t> </a:t>
            </a:r>
            <a:r>
              <a:rPr lang="de-DE" sz="1200" err="1">
                <a:solidFill>
                  <a:srgbClr val="000000"/>
                </a:solidFill>
              </a:rPr>
              <a:t>be</a:t>
            </a:r>
            <a:r>
              <a:rPr lang="de-DE" sz="1200">
                <a:solidFill>
                  <a:srgbClr val="000000"/>
                </a:solidFill>
              </a:rPr>
              <a:t> </a:t>
            </a:r>
            <a:r>
              <a:rPr lang="de-DE" sz="1200" err="1">
                <a:solidFill>
                  <a:srgbClr val="000000"/>
                </a:solidFill>
              </a:rPr>
              <a:t>located</a:t>
            </a:r>
            <a:r>
              <a:rPr lang="de-DE" sz="1200">
                <a:solidFill>
                  <a:srgbClr val="000000"/>
                </a:solidFill>
              </a:rPr>
              <a:t>, </a:t>
            </a:r>
            <a:r>
              <a:rPr lang="de-DE" sz="1200" err="1">
                <a:solidFill>
                  <a:srgbClr val="000000"/>
                </a:solidFill>
              </a:rPr>
              <a:t>focusing</a:t>
            </a:r>
            <a:r>
              <a:rPr lang="de-DE" sz="1200">
                <a:solidFill>
                  <a:srgbClr val="000000"/>
                </a:solidFill>
              </a:rPr>
              <a:t> on </a:t>
            </a:r>
            <a:r>
              <a:rPr lang="de-DE" sz="1200" err="1">
                <a:solidFill>
                  <a:srgbClr val="000000"/>
                </a:solidFill>
              </a:rPr>
              <a:t>specific</a:t>
            </a:r>
            <a:r>
              <a:rPr lang="de-DE" sz="1200">
                <a:solidFill>
                  <a:srgbClr val="000000"/>
                </a:solidFill>
              </a:rPr>
              <a:t> </a:t>
            </a:r>
            <a:r>
              <a:rPr lang="de-DE" sz="1200" err="1">
                <a:solidFill>
                  <a:srgbClr val="000000"/>
                </a:solidFill>
              </a:rPr>
              <a:t>regions</a:t>
            </a:r>
            <a:r>
              <a:rPr lang="de-DE" sz="1200">
                <a:solidFill>
                  <a:srgbClr val="000000"/>
                </a:solidFill>
              </a:rPr>
              <a:t>.</a:t>
            </a:r>
          </a:p>
        </p:txBody>
      </p:sp>
      <p:grpSp>
        <p:nvGrpSpPr>
          <p:cNvPr id="18" name="Gruppieren 17">
            <a:extLst>
              <a:ext uri="{FF2B5EF4-FFF2-40B4-BE49-F238E27FC236}">
                <a16:creationId xmlns:a16="http://schemas.microsoft.com/office/drawing/2014/main" id="{9C751969-740E-0D26-E40D-7B68D56059A0}"/>
              </a:ext>
            </a:extLst>
          </p:cNvPr>
          <p:cNvGrpSpPr/>
          <p:nvPr/>
        </p:nvGrpSpPr>
        <p:grpSpPr>
          <a:xfrm>
            <a:off x="730508" y="2731565"/>
            <a:ext cx="3049309" cy="480127"/>
            <a:chOff x="880316" y="2712411"/>
            <a:chExt cx="3049309" cy="480127"/>
          </a:xfrm>
        </p:grpSpPr>
        <p:sp>
          <p:nvSpPr>
            <p:cNvPr id="5" name="Untertitel 5">
              <a:extLst>
                <a:ext uri="{FF2B5EF4-FFF2-40B4-BE49-F238E27FC236}">
                  <a16:creationId xmlns:a16="http://schemas.microsoft.com/office/drawing/2014/main" id="{B086C0BC-52A0-0B2C-AC5C-057355B6F2B9}"/>
                </a:ext>
              </a:extLst>
            </p:cNvPr>
            <p:cNvSpPr txBox="1">
              <a:spLocks/>
            </p:cNvSpPr>
            <p:nvPr/>
          </p:nvSpPr>
          <p:spPr>
            <a:xfrm>
              <a:off x="1254480" y="2741906"/>
              <a:ext cx="267514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Hydro</a:t>
              </a:r>
              <a:r>
                <a:rPr lang="de-DE"/>
                <a:t> Power </a:t>
              </a:r>
              <a:r>
                <a:rPr lang="de-DE" err="1"/>
                <a:t>Hunt</a:t>
              </a:r>
              <a:r>
                <a:rPr lang="de-DE"/>
                <a:t> Challenge!</a:t>
              </a:r>
            </a:p>
          </p:txBody>
        </p:sp>
        <p:sp>
          <p:nvSpPr>
            <p:cNvPr id="8" name="Ellipse 7">
              <a:extLst>
                <a:ext uri="{FF2B5EF4-FFF2-40B4-BE49-F238E27FC236}">
                  <a16:creationId xmlns:a16="http://schemas.microsoft.com/office/drawing/2014/main" id="{2DF7BC39-A563-7F0D-B48E-4B63D86A9ACD}"/>
                </a:ext>
              </a:extLst>
            </p:cNvPr>
            <p:cNvSpPr>
              <a:spLocks noChangeAspect="1"/>
            </p:cNvSpPr>
            <p:nvPr/>
          </p:nvSpPr>
          <p:spPr>
            <a:xfrm>
              <a:off x="880316" y="2712411"/>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descr="Lupe mit einfarbiger Füllung">
              <a:extLst>
                <a:ext uri="{FF2B5EF4-FFF2-40B4-BE49-F238E27FC236}">
                  <a16:creationId xmlns:a16="http://schemas.microsoft.com/office/drawing/2014/main" id="{044CD6D0-567F-E60E-8815-C4EE3F143E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8389" y="2776091"/>
              <a:ext cx="333865" cy="333865"/>
            </a:xfrm>
            <a:prstGeom prst="rect">
              <a:avLst/>
            </a:prstGeom>
          </p:spPr>
        </p:pic>
      </p:grpSp>
      <p:sp>
        <p:nvSpPr>
          <p:cNvPr id="10" name="Untertitel 2">
            <a:extLst>
              <a:ext uri="{FF2B5EF4-FFF2-40B4-BE49-F238E27FC236}">
                <a16:creationId xmlns:a16="http://schemas.microsoft.com/office/drawing/2014/main" id="{A89D6650-19ED-7BF9-4DC0-3D87128E7122}"/>
              </a:ext>
            </a:extLst>
          </p:cNvPr>
          <p:cNvSpPr txBox="1">
            <a:spLocks/>
          </p:cNvSpPr>
          <p:nvPr/>
        </p:nvSpPr>
        <p:spPr>
          <a:xfrm>
            <a:off x="743030" y="3785632"/>
            <a:ext cx="5408396" cy="75897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Font typeface="+mj-lt"/>
              <a:buAutoNum type="arabicPeriod"/>
            </a:pPr>
            <a:r>
              <a:rPr lang="en-US" sz="1150"/>
              <a:t>Divide into groups of 3-5 Students. Each group will work together to complete the challenge and share their insights with the class afterwards!</a:t>
            </a:r>
          </a:p>
          <a:p>
            <a:pPr>
              <a:buClr>
                <a:schemeClr val="accent5"/>
              </a:buClr>
              <a:buFont typeface="+mj-lt"/>
              <a:buAutoNum type="arabicPeriod"/>
            </a:pPr>
            <a:r>
              <a:rPr lang="en-US" sz="1150"/>
              <a:t>On the next page you will find a map of Ghana to work with!</a:t>
            </a:r>
          </a:p>
        </p:txBody>
      </p:sp>
      <p:sp>
        <p:nvSpPr>
          <p:cNvPr id="12" name="Untertitel 5">
            <a:extLst>
              <a:ext uri="{FF2B5EF4-FFF2-40B4-BE49-F238E27FC236}">
                <a16:creationId xmlns:a16="http://schemas.microsoft.com/office/drawing/2014/main" id="{62EE570F-962E-9864-007F-D515C9574199}"/>
              </a:ext>
            </a:extLst>
          </p:cNvPr>
          <p:cNvSpPr txBox="1">
            <a:spLocks/>
          </p:cNvSpPr>
          <p:nvPr/>
        </p:nvSpPr>
        <p:spPr>
          <a:xfrm>
            <a:off x="730508" y="3388358"/>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5"/>
                </a:solidFill>
                <a:sym typeface="Sofia Sans"/>
              </a:rPr>
              <a:t>Instructions</a:t>
            </a:r>
            <a:endParaRPr lang="de-DE" sz="1200">
              <a:solidFill>
                <a:schemeClr val="accent5"/>
              </a:solidFill>
              <a:sym typeface="Sofia Sans"/>
            </a:endParaRPr>
          </a:p>
        </p:txBody>
      </p:sp>
      <p:pic>
        <p:nvPicPr>
          <p:cNvPr id="25" name="Grafik 24" descr="Skizze mit einfarbiger Füllung">
            <a:extLst>
              <a:ext uri="{FF2B5EF4-FFF2-40B4-BE49-F238E27FC236}">
                <a16:creationId xmlns:a16="http://schemas.microsoft.com/office/drawing/2014/main" id="{BFEA9D23-1E53-16E1-6351-2FA333094D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0580" y="4894392"/>
            <a:ext cx="379044" cy="379044"/>
          </a:xfrm>
          <a:prstGeom prst="rect">
            <a:avLst/>
          </a:prstGeom>
        </p:spPr>
      </p:pic>
      <p:sp>
        <p:nvSpPr>
          <p:cNvPr id="26" name="Untertitel 5">
            <a:extLst>
              <a:ext uri="{FF2B5EF4-FFF2-40B4-BE49-F238E27FC236}">
                <a16:creationId xmlns:a16="http://schemas.microsoft.com/office/drawing/2014/main" id="{1299B10C-A9B2-2D53-D386-95364FACACC3}"/>
              </a:ext>
            </a:extLst>
          </p:cNvPr>
          <p:cNvSpPr txBox="1">
            <a:spLocks/>
          </p:cNvSpPr>
          <p:nvPr/>
        </p:nvSpPr>
        <p:spPr>
          <a:xfrm>
            <a:off x="1144744" y="483659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27" name="Ellipse 26">
            <a:extLst>
              <a:ext uri="{FF2B5EF4-FFF2-40B4-BE49-F238E27FC236}">
                <a16:creationId xmlns:a16="http://schemas.microsoft.com/office/drawing/2014/main" id="{20686F07-8F85-CFE7-1158-21CF9BD5DFD1}"/>
              </a:ext>
            </a:extLst>
          </p:cNvPr>
          <p:cNvSpPr>
            <a:spLocks noChangeAspect="1"/>
          </p:cNvSpPr>
          <p:nvPr/>
        </p:nvSpPr>
        <p:spPr>
          <a:xfrm>
            <a:off x="703795" y="4808709"/>
            <a:ext cx="507735" cy="50773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8" name="Grafik 27" descr="Skizze mit einfarbiger Füllung">
            <a:extLst>
              <a:ext uri="{FF2B5EF4-FFF2-40B4-BE49-F238E27FC236}">
                <a16:creationId xmlns:a16="http://schemas.microsoft.com/office/drawing/2014/main" id="{21F2F59A-8455-53C8-AE0F-F43E7A6C54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805" y="4893425"/>
            <a:ext cx="379044" cy="379044"/>
          </a:xfrm>
          <a:prstGeom prst="rect">
            <a:avLst/>
          </a:prstGeom>
        </p:spPr>
      </p:pic>
      <p:sp>
        <p:nvSpPr>
          <p:cNvPr id="29" name="Untertitel 5">
            <a:extLst>
              <a:ext uri="{FF2B5EF4-FFF2-40B4-BE49-F238E27FC236}">
                <a16:creationId xmlns:a16="http://schemas.microsoft.com/office/drawing/2014/main" id="{1563732A-800C-83AF-365F-662839B72483}"/>
              </a:ext>
            </a:extLst>
          </p:cNvPr>
          <p:cNvSpPr txBox="1">
            <a:spLocks/>
          </p:cNvSpPr>
          <p:nvPr/>
        </p:nvSpPr>
        <p:spPr>
          <a:xfrm>
            <a:off x="708221" y="543306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5"/>
                </a:solidFill>
              </a:rPr>
              <a:t>Task 1</a:t>
            </a:r>
          </a:p>
        </p:txBody>
      </p:sp>
      <p:sp>
        <p:nvSpPr>
          <p:cNvPr id="30" name="Untertitel 3">
            <a:extLst>
              <a:ext uri="{FF2B5EF4-FFF2-40B4-BE49-F238E27FC236}">
                <a16:creationId xmlns:a16="http://schemas.microsoft.com/office/drawing/2014/main" id="{E37E4823-B011-FB53-47C8-813BAB1FB605}"/>
              </a:ext>
            </a:extLst>
          </p:cNvPr>
          <p:cNvSpPr txBox="1">
            <a:spLocks/>
          </p:cNvSpPr>
          <p:nvPr/>
        </p:nvSpPr>
        <p:spPr>
          <a:xfrm>
            <a:off x="703795" y="5851701"/>
            <a:ext cx="5931419" cy="243508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Font typeface="+mj-lt"/>
              <a:buAutoNum type="arabicPeriod"/>
            </a:pPr>
            <a:r>
              <a:rPr lang="en-US" sz="1200"/>
              <a:t>Locate Hydropower Sites: Using the map, identify and mark potential locations where you think hydroelectric power plants could be built. Indicate these spots with red dots on your map.</a:t>
            </a:r>
          </a:p>
          <a:p>
            <a:pPr>
              <a:buClr>
                <a:schemeClr val="accent5"/>
              </a:buClr>
              <a:buFont typeface="+mj-lt"/>
              <a:buAutoNum type="arabicPeriod"/>
            </a:pPr>
            <a:r>
              <a:rPr lang="en-US" sz="1200"/>
              <a:t>Discuss the Suitability: for each location, consider the geographical features (elevation, proximity to water sources etc.) that make it a good choice for hydropower. Write down your reasons in short bullet points.</a:t>
            </a:r>
          </a:p>
          <a:p>
            <a:pPr>
              <a:buClr>
                <a:schemeClr val="accent5"/>
              </a:buClr>
              <a:buFont typeface="+mj-lt"/>
              <a:buAutoNum type="arabicPeriod"/>
            </a:pPr>
            <a:r>
              <a:rPr lang="en-US" sz="1200"/>
              <a:t>Rank the Locations: Arrange your chosen locations from most suitable to least suitable. (for example, indicate it with a 1, 2 … next to the red dots). Be prepared to provide some arguments for your top 3 locations. </a:t>
            </a:r>
          </a:p>
          <a:p>
            <a:pPr>
              <a:buClr>
                <a:schemeClr val="accent5"/>
              </a:buClr>
              <a:buFont typeface="+mj-lt"/>
              <a:buAutoNum type="arabicPeriod"/>
            </a:pPr>
            <a:r>
              <a:rPr lang="en-US" sz="1200"/>
              <a:t>Present your Findings and discuss in class!</a:t>
            </a:r>
          </a:p>
        </p:txBody>
      </p:sp>
    </p:spTree>
    <p:extLst>
      <p:ext uri="{BB962C8B-B14F-4D97-AF65-F5344CB8AC3E}">
        <p14:creationId xmlns:p14="http://schemas.microsoft.com/office/powerpoint/2010/main" val="1390558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C87F6-DB55-4F6E-D213-21BF3FF10803}"/>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678A373-1ACD-1D7E-8C11-7841D1FA494B}"/>
              </a:ext>
            </a:extLst>
          </p:cNvPr>
          <p:cNvSpPr>
            <a:spLocks noGrp="1"/>
          </p:cNvSpPr>
          <p:nvPr>
            <p:ph type="sldNum" sz="quarter" idx="10"/>
          </p:nvPr>
        </p:nvSpPr>
        <p:spPr/>
        <p:txBody>
          <a:bodyPr/>
          <a:lstStyle/>
          <a:p>
            <a:fld id="{DF7F771E-9578-4C04-B869-01AF4C35C90C}" type="slidenum">
              <a:rPr lang="de-DE" smtClean="0"/>
              <a:t>11</a:t>
            </a:fld>
            <a:endParaRPr lang="de-DE"/>
          </a:p>
        </p:txBody>
      </p:sp>
      <p:sp>
        <p:nvSpPr>
          <p:cNvPr id="10" name="Titel 1">
            <a:extLst>
              <a:ext uri="{FF2B5EF4-FFF2-40B4-BE49-F238E27FC236}">
                <a16:creationId xmlns:a16="http://schemas.microsoft.com/office/drawing/2014/main" id="{99792683-0302-29BB-BDEF-565A098FD75C}"/>
              </a:ext>
            </a:extLst>
          </p:cNvPr>
          <p:cNvSpPr txBox="1">
            <a:spLocks/>
          </p:cNvSpPr>
          <p:nvPr/>
        </p:nvSpPr>
        <p:spPr>
          <a:xfrm>
            <a:off x="719138" y="1289867"/>
            <a:ext cx="6369175" cy="5952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err="1"/>
              <a:t>Hydro</a:t>
            </a:r>
            <a:r>
              <a:rPr lang="de-DE"/>
              <a:t> Power </a:t>
            </a:r>
            <a:r>
              <a:rPr lang="de-DE" err="1"/>
              <a:t>Hunt</a:t>
            </a:r>
            <a:r>
              <a:rPr lang="de-DE"/>
              <a:t> Challenge</a:t>
            </a:r>
          </a:p>
        </p:txBody>
      </p:sp>
      <p:pic>
        <p:nvPicPr>
          <p:cNvPr id="6" name="Grafik 5" descr="Ein Bild, das Text, Karte, Atlas enthält.&#10;&#10;Automatisch generierte Beschreibung">
            <a:extLst>
              <a:ext uri="{FF2B5EF4-FFF2-40B4-BE49-F238E27FC236}">
                <a16:creationId xmlns:a16="http://schemas.microsoft.com/office/drawing/2014/main" id="{B2B3E5E0-9E09-BAF0-F27A-299A4B77EECF}"/>
              </a:ext>
            </a:extLst>
          </p:cNvPr>
          <p:cNvPicPr>
            <a:picLocks noChangeAspect="1"/>
          </p:cNvPicPr>
          <p:nvPr/>
        </p:nvPicPr>
        <p:blipFill>
          <a:blip r:embed="rId2"/>
          <a:stretch>
            <a:fillRect/>
          </a:stretch>
        </p:blipFill>
        <p:spPr>
          <a:xfrm>
            <a:off x="1110009" y="2246012"/>
            <a:ext cx="5339655" cy="7454158"/>
          </a:xfrm>
          <a:prstGeom prst="rect">
            <a:avLst/>
          </a:prstGeom>
        </p:spPr>
      </p:pic>
    </p:spTree>
    <p:extLst>
      <p:ext uri="{BB962C8B-B14F-4D97-AF65-F5344CB8AC3E}">
        <p14:creationId xmlns:p14="http://schemas.microsoft.com/office/powerpoint/2010/main" val="2670221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F0AAF-9664-F255-04B2-A1AEA80BF930}"/>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FC7907BD-CD16-7C9F-1231-AD285F0E4AA8}"/>
              </a:ext>
            </a:extLst>
          </p:cNvPr>
          <p:cNvSpPr>
            <a:spLocks noGrp="1"/>
          </p:cNvSpPr>
          <p:nvPr>
            <p:ph type="sldNum" sz="quarter" idx="10"/>
          </p:nvPr>
        </p:nvSpPr>
        <p:spPr/>
        <p:txBody>
          <a:bodyPr/>
          <a:lstStyle/>
          <a:p>
            <a:fld id="{DF7F771E-9578-4C04-B869-01AF4C35C90C}" type="slidenum">
              <a:rPr lang="de-DE" smtClean="0"/>
              <a:t>12</a:t>
            </a:fld>
            <a:endParaRPr lang="de-DE"/>
          </a:p>
        </p:txBody>
      </p:sp>
      <p:sp>
        <p:nvSpPr>
          <p:cNvPr id="10" name="Titel 1">
            <a:extLst>
              <a:ext uri="{FF2B5EF4-FFF2-40B4-BE49-F238E27FC236}">
                <a16:creationId xmlns:a16="http://schemas.microsoft.com/office/drawing/2014/main" id="{4F82EEEC-9EE0-D89E-6A4B-E7C237DD9D91}"/>
              </a:ext>
            </a:extLst>
          </p:cNvPr>
          <p:cNvSpPr txBox="1">
            <a:spLocks/>
          </p:cNvSpPr>
          <p:nvPr/>
        </p:nvSpPr>
        <p:spPr>
          <a:xfrm>
            <a:off x="715894" y="1290073"/>
            <a:ext cx="6369175" cy="5952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a:buClr>
                <a:schemeClr val="dk1"/>
              </a:buClr>
              <a:buSzPts val="2800"/>
              <a:buFont typeface="Epilogue"/>
              <a:buNone/>
              <a:defRPr sz="2800" b="1">
                <a:solidFill>
                  <a:schemeClr val="dk1"/>
                </a:solidFill>
                <a:latin typeface="Epilogue"/>
                <a:ea typeface="Epilogue"/>
                <a:cs typeface="Epilogue"/>
              </a:defRPr>
            </a:lvl1pPr>
            <a:lvl2pPr>
              <a:buClr>
                <a:schemeClr val="dk1"/>
              </a:buClr>
              <a:buSzPts val="2800"/>
              <a:buFont typeface="Epilogue"/>
              <a:buNone/>
              <a:defRPr sz="2800" b="1">
                <a:solidFill>
                  <a:schemeClr val="dk1"/>
                </a:solidFill>
                <a:latin typeface="Epilogue"/>
                <a:ea typeface="Epilogue"/>
                <a:cs typeface="Epilogue"/>
              </a:defRPr>
            </a:lvl2pPr>
            <a:lvl3pPr>
              <a:buClr>
                <a:schemeClr val="dk1"/>
              </a:buClr>
              <a:buSzPts val="2800"/>
              <a:buFont typeface="Epilogue"/>
              <a:buNone/>
              <a:defRPr sz="2800" b="1">
                <a:solidFill>
                  <a:schemeClr val="dk1"/>
                </a:solidFill>
                <a:latin typeface="Epilogue"/>
                <a:ea typeface="Epilogue"/>
                <a:cs typeface="Epilogue"/>
              </a:defRPr>
            </a:lvl3pPr>
            <a:lvl4pPr>
              <a:buClr>
                <a:schemeClr val="dk1"/>
              </a:buClr>
              <a:buSzPts val="2800"/>
              <a:buFont typeface="Epilogue"/>
              <a:buNone/>
              <a:defRPr sz="2800" b="1">
                <a:solidFill>
                  <a:schemeClr val="dk1"/>
                </a:solidFill>
                <a:latin typeface="Epilogue"/>
                <a:ea typeface="Epilogue"/>
                <a:cs typeface="Epilogue"/>
              </a:defRPr>
            </a:lvl4pPr>
            <a:lvl5pPr>
              <a:buClr>
                <a:schemeClr val="dk1"/>
              </a:buClr>
              <a:buSzPts val="2800"/>
              <a:buFont typeface="Epilogue"/>
              <a:buNone/>
              <a:defRPr sz="2800" b="1">
                <a:solidFill>
                  <a:schemeClr val="dk1"/>
                </a:solidFill>
                <a:latin typeface="Epilogue"/>
                <a:ea typeface="Epilogue"/>
                <a:cs typeface="Epilogue"/>
              </a:defRPr>
            </a:lvl5pPr>
            <a:lvl6pPr>
              <a:buClr>
                <a:schemeClr val="dk1"/>
              </a:buClr>
              <a:buSzPts val="2800"/>
              <a:buFont typeface="Epilogue"/>
              <a:buNone/>
              <a:defRPr sz="2800" b="1">
                <a:solidFill>
                  <a:schemeClr val="dk1"/>
                </a:solidFill>
                <a:latin typeface="Epilogue"/>
                <a:ea typeface="Epilogue"/>
                <a:cs typeface="Epilogue"/>
              </a:defRPr>
            </a:lvl6pPr>
            <a:lvl7pPr>
              <a:buClr>
                <a:schemeClr val="dk1"/>
              </a:buClr>
              <a:buSzPts val="2800"/>
              <a:buFont typeface="Epilogue"/>
              <a:buNone/>
              <a:defRPr sz="2800" b="1">
                <a:solidFill>
                  <a:schemeClr val="dk1"/>
                </a:solidFill>
                <a:latin typeface="Epilogue"/>
                <a:ea typeface="Epilogue"/>
                <a:cs typeface="Epilogue"/>
              </a:defRPr>
            </a:lvl7pPr>
            <a:lvl8pPr>
              <a:buClr>
                <a:schemeClr val="dk1"/>
              </a:buClr>
              <a:buSzPts val="2800"/>
              <a:buFont typeface="Epilogue"/>
              <a:buNone/>
              <a:defRPr sz="2800" b="1">
                <a:solidFill>
                  <a:schemeClr val="dk1"/>
                </a:solidFill>
                <a:latin typeface="Epilogue"/>
                <a:ea typeface="Epilogue"/>
                <a:cs typeface="Epilogue"/>
              </a:defRPr>
            </a:lvl8pPr>
            <a:lvl9pPr>
              <a:buClr>
                <a:schemeClr val="dk1"/>
              </a:buClr>
              <a:buSzPts val="2800"/>
              <a:buFont typeface="Epilogue"/>
              <a:buNone/>
              <a:defRPr sz="2800" b="1">
                <a:solidFill>
                  <a:schemeClr val="dk1"/>
                </a:solidFill>
                <a:latin typeface="Epilogue"/>
                <a:ea typeface="Epilogue"/>
                <a:cs typeface="Epilogue"/>
              </a:defRPr>
            </a:lvl9pPr>
          </a:lstStyle>
          <a:p>
            <a:r>
              <a:rPr lang="de-DE" err="1"/>
              <a:t>HydroPower</a:t>
            </a:r>
            <a:r>
              <a:rPr lang="de-DE"/>
              <a:t> </a:t>
            </a:r>
            <a:r>
              <a:rPr lang="de-DE" err="1"/>
              <a:t>Hunt</a:t>
            </a:r>
            <a:r>
              <a:rPr lang="de-DE"/>
              <a:t> Challenge – Sample Solution</a:t>
            </a:r>
          </a:p>
        </p:txBody>
      </p:sp>
      <p:grpSp>
        <p:nvGrpSpPr>
          <p:cNvPr id="13" name="Gruppieren 12">
            <a:extLst>
              <a:ext uri="{FF2B5EF4-FFF2-40B4-BE49-F238E27FC236}">
                <a16:creationId xmlns:a16="http://schemas.microsoft.com/office/drawing/2014/main" id="{18FE6EA7-089F-331D-C69D-EB97C4E8EE89}"/>
              </a:ext>
            </a:extLst>
          </p:cNvPr>
          <p:cNvGrpSpPr/>
          <p:nvPr/>
        </p:nvGrpSpPr>
        <p:grpSpPr>
          <a:xfrm>
            <a:off x="1121279" y="2302614"/>
            <a:ext cx="5317116" cy="7604570"/>
            <a:chOff x="893159" y="1484186"/>
            <a:chExt cx="5817328" cy="8120989"/>
          </a:xfrm>
        </p:grpSpPr>
        <p:pic>
          <p:nvPicPr>
            <p:cNvPr id="6" name="Grafik 5" descr="Ein Bild, das Text, Karte, Atlas enthält.&#10;&#10;Automatisch generierte Beschreibung">
              <a:extLst>
                <a:ext uri="{FF2B5EF4-FFF2-40B4-BE49-F238E27FC236}">
                  <a16:creationId xmlns:a16="http://schemas.microsoft.com/office/drawing/2014/main" id="{E7D2B3E5-488C-2045-52D1-F5A77B678F1D}"/>
                </a:ext>
              </a:extLst>
            </p:cNvPr>
            <p:cNvPicPr>
              <a:picLocks noChangeAspect="1"/>
            </p:cNvPicPr>
            <p:nvPr/>
          </p:nvPicPr>
          <p:blipFill>
            <a:blip r:embed="rId2"/>
            <a:stretch>
              <a:fillRect/>
            </a:stretch>
          </p:blipFill>
          <p:spPr>
            <a:xfrm>
              <a:off x="893159" y="1484186"/>
              <a:ext cx="5817328" cy="8120989"/>
            </a:xfrm>
            <a:prstGeom prst="rect">
              <a:avLst/>
            </a:prstGeom>
          </p:spPr>
        </p:pic>
        <p:grpSp>
          <p:nvGrpSpPr>
            <p:cNvPr id="35" name="Gruppieren 34">
              <a:extLst>
                <a:ext uri="{FF2B5EF4-FFF2-40B4-BE49-F238E27FC236}">
                  <a16:creationId xmlns:a16="http://schemas.microsoft.com/office/drawing/2014/main" id="{E5EF5F8D-D3E9-5F73-A9D4-27E87CF9D96E}"/>
                </a:ext>
              </a:extLst>
            </p:cNvPr>
            <p:cNvGrpSpPr/>
            <p:nvPr/>
          </p:nvGrpSpPr>
          <p:grpSpPr>
            <a:xfrm>
              <a:off x="2401325" y="8810941"/>
              <a:ext cx="329950" cy="246778"/>
              <a:chOff x="1379788" y="5914447"/>
              <a:chExt cx="329950" cy="246778"/>
            </a:xfrm>
          </p:grpSpPr>
          <p:sp>
            <p:nvSpPr>
              <p:cNvPr id="11" name="Ellipse 10">
                <a:extLst>
                  <a:ext uri="{FF2B5EF4-FFF2-40B4-BE49-F238E27FC236}">
                    <a16:creationId xmlns:a16="http://schemas.microsoft.com/office/drawing/2014/main" id="{B2FA96FB-7B20-F2CF-33CD-377C0F0364B7}"/>
                  </a:ext>
                </a:extLst>
              </p:cNvPr>
              <p:cNvSpPr>
                <a:spLocks noChangeAspect="1"/>
              </p:cNvSpPr>
              <p:nvPr/>
            </p:nvSpPr>
            <p:spPr>
              <a:xfrm>
                <a:off x="1401219" y="591444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2" name="Textfeld 11">
                <a:extLst>
                  <a:ext uri="{FF2B5EF4-FFF2-40B4-BE49-F238E27FC236}">
                    <a16:creationId xmlns:a16="http://schemas.microsoft.com/office/drawing/2014/main" id="{ADD4CE81-107C-AF61-01FD-5FFA742FB427}"/>
                  </a:ext>
                </a:extLst>
              </p:cNvPr>
              <p:cNvSpPr txBox="1"/>
              <p:nvPr/>
            </p:nvSpPr>
            <p:spPr>
              <a:xfrm>
                <a:off x="1379788" y="5918809"/>
                <a:ext cx="329950" cy="230832"/>
              </a:xfrm>
              <a:prstGeom prst="rect">
                <a:avLst/>
              </a:prstGeom>
              <a:noFill/>
            </p:spPr>
            <p:txBody>
              <a:bodyPr wrap="square" rtlCol="0">
                <a:spAutoFit/>
              </a:bodyPr>
              <a:lstStyle/>
              <a:p>
                <a:r>
                  <a:rPr lang="de-DE" sz="900">
                    <a:latin typeface="Sofia Sans" panose="020B0604020202020204" charset="0"/>
                  </a:rPr>
                  <a:t>10</a:t>
                </a:r>
                <a:endParaRPr lang="en-DE" sz="900">
                  <a:latin typeface="Sofia Sans" panose="020B0604020202020204" charset="0"/>
                </a:endParaRPr>
              </a:p>
            </p:txBody>
          </p:sp>
        </p:grpSp>
        <p:grpSp>
          <p:nvGrpSpPr>
            <p:cNvPr id="17" name="Gruppieren 16">
              <a:extLst>
                <a:ext uri="{FF2B5EF4-FFF2-40B4-BE49-F238E27FC236}">
                  <a16:creationId xmlns:a16="http://schemas.microsoft.com/office/drawing/2014/main" id="{552AB9B8-E0AF-50B9-9346-1CD7E8A876FD}"/>
                </a:ext>
              </a:extLst>
            </p:cNvPr>
            <p:cNvGrpSpPr/>
            <p:nvPr/>
          </p:nvGrpSpPr>
          <p:grpSpPr>
            <a:xfrm>
              <a:off x="4825187" y="6935031"/>
              <a:ext cx="250792" cy="246778"/>
              <a:chOff x="593741" y="5524987"/>
              <a:chExt cx="250792" cy="246778"/>
            </a:xfrm>
          </p:grpSpPr>
          <p:sp>
            <p:nvSpPr>
              <p:cNvPr id="15" name="Ellipse 14">
                <a:extLst>
                  <a:ext uri="{FF2B5EF4-FFF2-40B4-BE49-F238E27FC236}">
                    <a16:creationId xmlns:a16="http://schemas.microsoft.com/office/drawing/2014/main" id="{734272FA-64FB-4969-FCFF-9C3B2810DD6D}"/>
                  </a:ext>
                </a:extLst>
              </p:cNvPr>
              <p:cNvSpPr>
                <a:spLocks noChangeAspect="1"/>
              </p:cNvSpPr>
              <p:nvPr/>
            </p:nvSpPr>
            <p:spPr>
              <a:xfrm>
                <a:off x="593741" y="552498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6" name="Textfeld 15">
                <a:extLst>
                  <a:ext uri="{FF2B5EF4-FFF2-40B4-BE49-F238E27FC236}">
                    <a16:creationId xmlns:a16="http://schemas.microsoft.com/office/drawing/2014/main" id="{15AB18A4-A741-E3B9-ECE3-09CCF49B84D4}"/>
                  </a:ext>
                </a:extLst>
              </p:cNvPr>
              <p:cNvSpPr txBox="1"/>
              <p:nvPr/>
            </p:nvSpPr>
            <p:spPr>
              <a:xfrm>
                <a:off x="606684" y="5532960"/>
                <a:ext cx="185001" cy="230832"/>
              </a:xfrm>
              <a:prstGeom prst="rect">
                <a:avLst/>
              </a:prstGeom>
              <a:noFill/>
            </p:spPr>
            <p:txBody>
              <a:bodyPr wrap="square" rtlCol="0">
                <a:spAutoFit/>
              </a:bodyPr>
              <a:lstStyle/>
              <a:p>
                <a:r>
                  <a:rPr lang="de-DE" sz="900">
                    <a:latin typeface="Sofia Sans" panose="020B0604020202020204" charset="0"/>
                  </a:rPr>
                  <a:t>1</a:t>
                </a:r>
                <a:endParaRPr lang="en-DE" sz="900">
                  <a:latin typeface="Sofia Sans" panose="020B0604020202020204" charset="0"/>
                </a:endParaRPr>
              </a:p>
            </p:txBody>
          </p:sp>
        </p:grpSp>
        <p:grpSp>
          <p:nvGrpSpPr>
            <p:cNvPr id="20" name="Gruppieren 19">
              <a:extLst>
                <a:ext uri="{FF2B5EF4-FFF2-40B4-BE49-F238E27FC236}">
                  <a16:creationId xmlns:a16="http://schemas.microsoft.com/office/drawing/2014/main" id="{7253B104-97F3-D3A0-3845-F8FA1BC9D04A}"/>
                </a:ext>
              </a:extLst>
            </p:cNvPr>
            <p:cNvGrpSpPr/>
            <p:nvPr/>
          </p:nvGrpSpPr>
          <p:grpSpPr>
            <a:xfrm>
              <a:off x="2683018" y="5222517"/>
              <a:ext cx="250792" cy="246778"/>
              <a:chOff x="593741" y="5836627"/>
              <a:chExt cx="250792" cy="246778"/>
            </a:xfrm>
          </p:grpSpPr>
          <p:sp>
            <p:nvSpPr>
              <p:cNvPr id="18" name="Ellipse 17">
                <a:extLst>
                  <a:ext uri="{FF2B5EF4-FFF2-40B4-BE49-F238E27FC236}">
                    <a16:creationId xmlns:a16="http://schemas.microsoft.com/office/drawing/2014/main" id="{6206305A-0C22-D49B-9E0D-8668DBB4B054}"/>
                  </a:ext>
                </a:extLst>
              </p:cNvPr>
              <p:cNvSpPr>
                <a:spLocks noChangeAspect="1"/>
              </p:cNvSpPr>
              <p:nvPr/>
            </p:nvSpPr>
            <p:spPr>
              <a:xfrm>
                <a:off x="593741" y="583662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9" name="Textfeld 18">
                <a:extLst>
                  <a:ext uri="{FF2B5EF4-FFF2-40B4-BE49-F238E27FC236}">
                    <a16:creationId xmlns:a16="http://schemas.microsoft.com/office/drawing/2014/main" id="{5CC3424A-316A-5653-3A9F-FD840FA188C3}"/>
                  </a:ext>
                </a:extLst>
              </p:cNvPr>
              <p:cNvSpPr txBox="1"/>
              <p:nvPr/>
            </p:nvSpPr>
            <p:spPr>
              <a:xfrm>
                <a:off x="593741" y="5844600"/>
                <a:ext cx="185001" cy="230832"/>
              </a:xfrm>
              <a:prstGeom prst="rect">
                <a:avLst/>
              </a:prstGeom>
              <a:noFill/>
            </p:spPr>
            <p:txBody>
              <a:bodyPr wrap="square" rtlCol="0">
                <a:spAutoFit/>
              </a:bodyPr>
              <a:lstStyle/>
              <a:p>
                <a:r>
                  <a:rPr lang="de-DE" sz="900">
                    <a:latin typeface="Sofia Sans" panose="020B0604020202020204" charset="0"/>
                  </a:rPr>
                  <a:t>2</a:t>
                </a:r>
                <a:endParaRPr lang="en-DE" sz="900">
                  <a:latin typeface="Sofia Sans" panose="020B0604020202020204" charset="0"/>
                </a:endParaRPr>
              </a:p>
            </p:txBody>
          </p:sp>
        </p:grpSp>
        <p:grpSp>
          <p:nvGrpSpPr>
            <p:cNvPr id="36" name="Gruppieren 35">
              <a:extLst>
                <a:ext uri="{FF2B5EF4-FFF2-40B4-BE49-F238E27FC236}">
                  <a16:creationId xmlns:a16="http://schemas.microsoft.com/office/drawing/2014/main" id="{A07F8AF6-DF61-0E4A-BD05-A26E49DE186F}"/>
                </a:ext>
              </a:extLst>
            </p:cNvPr>
            <p:cNvGrpSpPr/>
            <p:nvPr/>
          </p:nvGrpSpPr>
          <p:grpSpPr>
            <a:xfrm>
              <a:off x="4897735" y="4695344"/>
              <a:ext cx="250792" cy="246778"/>
              <a:chOff x="588402" y="6148267"/>
              <a:chExt cx="250792" cy="246778"/>
            </a:xfrm>
          </p:grpSpPr>
          <p:sp>
            <p:nvSpPr>
              <p:cNvPr id="21" name="Ellipse 20">
                <a:extLst>
                  <a:ext uri="{FF2B5EF4-FFF2-40B4-BE49-F238E27FC236}">
                    <a16:creationId xmlns:a16="http://schemas.microsoft.com/office/drawing/2014/main" id="{06CDABC4-ABEE-D490-2586-B185BD647616}"/>
                  </a:ext>
                </a:extLst>
              </p:cNvPr>
              <p:cNvSpPr>
                <a:spLocks noChangeAspect="1"/>
              </p:cNvSpPr>
              <p:nvPr/>
            </p:nvSpPr>
            <p:spPr>
              <a:xfrm>
                <a:off x="588402" y="614826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2" name="Textfeld 21">
                <a:extLst>
                  <a:ext uri="{FF2B5EF4-FFF2-40B4-BE49-F238E27FC236}">
                    <a16:creationId xmlns:a16="http://schemas.microsoft.com/office/drawing/2014/main" id="{58E5B810-927E-7A58-9800-F176D525B428}"/>
                  </a:ext>
                </a:extLst>
              </p:cNvPr>
              <p:cNvSpPr txBox="1"/>
              <p:nvPr/>
            </p:nvSpPr>
            <p:spPr>
              <a:xfrm>
                <a:off x="593741" y="6156240"/>
                <a:ext cx="185001" cy="230832"/>
              </a:xfrm>
              <a:prstGeom prst="rect">
                <a:avLst/>
              </a:prstGeom>
              <a:noFill/>
            </p:spPr>
            <p:txBody>
              <a:bodyPr wrap="square" rtlCol="0">
                <a:spAutoFit/>
              </a:bodyPr>
              <a:lstStyle/>
              <a:p>
                <a:r>
                  <a:rPr lang="de-DE" sz="900">
                    <a:latin typeface="Sofia Sans" panose="020B0604020202020204" charset="0"/>
                  </a:rPr>
                  <a:t>3</a:t>
                </a:r>
                <a:endParaRPr lang="en-DE" sz="900">
                  <a:latin typeface="Sofia Sans" panose="020B0604020202020204" charset="0"/>
                </a:endParaRPr>
              </a:p>
            </p:txBody>
          </p:sp>
        </p:grpSp>
        <p:grpSp>
          <p:nvGrpSpPr>
            <p:cNvPr id="42" name="Gruppieren 41">
              <a:extLst>
                <a:ext uri="{FF2B5EF4-FFF2-40B4-BE49-F238E27FC236}">
                  <a16:creationId xmlns:a16="http://schemas.microsoft.com/office/drawing/2014/main" id="{F8B34E69-5B8C-4EBD-8892-252DB7452816}"/>
                </a:ext>
              </a:extLst>
            </p:cNvPr>
            <p:cNvGrpSpPr/>
            <p:nvPr/>
          </p:nvGrpSpPr>
          <p:grpSpPr>
            <a:xfrm>
              <a:off x="2288302" y="4562143"/>
              <a:ext cx="250792" cy="246778"/>
              <a:chOff x="560638" y="6470295"/>
              <a:chExt cx="250792" cy="246778"/>
            </a:xfrm>
          </p:grpSpPr>
          <p:sp>
            <p:nvSpPr>
              <p:cNvPr id="23" name="Ellipse 22">
                <a:extLst>
                  <a:ext uri="{FF2B5EF4-FFF2-40B4-BE49-F238E27FC236}">
                    <a16:creationId xmlns:a16="http://schemas.microsoft.com/office/drawing/2014/main" id="{C95E7F3D-F6CB-D264-D5A2-68B72889F651}"/>
                  </a:ext>
                </a:extLst>
              </p:cNvPr>
              <p:cNvSpPr>
                <a:spLocks noChangeAspect="1"/>
              </p:cNvSpPr>
              <p:nvPr/>
            </p:nvSpPr>
            <p:spPr>
              <a:xfrm>
                <a:off x="560638" y="6470295"/>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4" name="Textfeld 23">
                <a:extLst>
                  <a:ext uri="{FF2B5EF4-FFF2-40B4-BE49-F238E27FC236}">
                    <a16:creationId xmlns:a16="http://schemas.microsoft.com/office/drawing/2014/main" id="{7209D45C-DC45-73CE-95D2-47413E4B01DB}"/>
                  </a:ext>
                </a:extLst>
              </p:cNvPr>
              <p:cNvSpPr txBox="1"/>
              <p:nvPr/>
            </p:nvSpPr>
            <p:spPr>
              <a:xfrm>
                <a:off x="560638" y="6478268"/>
                <a:ext cx="185001" cy="230832"/>
              </a:xfrm>
              <a:prstGeom prst="rect">
                <a:avLst/>
              </a:prstGeom>
              <a:noFill/>
            </p:spPr>
            <p:txBody>
              <a:bodyPr wrap="square" rtlCol="0">
                <a:spAutoFit/>
              </a:bodyPr>
              <a:lstStyle/>
              <a:p>
                <a:r>
                  <a:rPr lang="de-DE" sz="900">
                    <a:latin typeface="Sofia Sans" panose="020B0604020202020204" charset="0"/>
                  </a:rPr>
                  <a:t>4</a:t>
                </a:r>
                <a:endParaRPr lang="en-DE" sz="900">
                  <a:latin typeface="Sofia Sans" panose="020B0604020202020204" charset="0"/>
                </a:endParaRPr>
              </a:p>
            </p:txBody>
          </p:sp>
        </p:grpSp>
        <p:grpSp>
          <p:nvGrpSpPr>
            <p:cNvPr id="41" name="Gruppieren 40">
              <a:extLst>
                <a:ext uri="{FF2B5EF4-FFF2-40B4-BE49-F238E27FC236}">
                  <a16:creationId xmlns:a16="http://schemas.microsoft.com/office/drawing/2014/main" id="{13717231-81F6-E118-E637-C17544ED9FAD}"/>
                </a:ext>
              </a:extLst>
            </p:cNvPr>
            <p:cNvGrpSpPr/>
            <p:nvPr/>
          </p:nvGrpSpPr>
          <p:grpSpPr>
            <a:xfrm>
              <a:off x="3203591" y="7554299"/>
              <a:ext cx="250792" cy="246778"/>
              <a:chOff x="593741" y="6744674"/>
              <a:chExt cx="250792" cy="246778"/>
            </a:xfrm>
          </p:grpSpPr>
          <p:sp>
            <p:nvSpPr>
              <p:cNvPr id="25" name="Ellipse 24">
                <a:extLst>
                  <a:ext uri="{FF2B5EF4-FFF2-40B4-BE49-F238E27FC236}">
                    <a16:creationId xmlns:a16="http://schemas.microsoft.com/office/drawing/2014/main" id="{2609DD00-1BB9-AAA1-9AD4-13CE81D0ED96}"/>
                  </a:ext>
                </a:extLst>
              </p:cNvPr>
              <p:cNvSpPr>
                <a:spLocks noChangeAspect="1"/>
              </p:cNvSpPr>
              <p:nvPr/>
            </p:nvSpPr>
            <p:spPr>
              <a:xfrm>
                <a:off x="593741" y="6744674"/>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6" name="Textfeld 25">
                <a:extLst>
                  <a:ext uri="{FF2B5EF4-FFF2-40B4-BE49-F238E27FC236}">
                    <a16:creationId xmlns:a16="http://schemas.microsoft.com/office/drawing/2014/main" id="{34BE410B-229A-3A55-0E82-3FDDDD418EA2}"/>
                  </a:ext>
                </a:extLst>
              </p:cNvPr>
              <p:cNvSpPr txBox="1"/>
              <p:nvPr/>
            </p:nvSpPr>
            <p:spPr>
              <a:xfrm>
                <a:off x="593741" y="6760620"/>
                <a:ext cx="185001" cy="230832"/>
              </a:xfrm>
              <a:prstGeom prst="rect">
                <a:avLst/>
              </a:prstGeom>
              <a:noFill/>
            </p:spPr>
            <p:txBody>
              <a:bodyPr wrap="square" rtlCol="0">
                <a:spAutoFit/>
              </a:bodyPr>
              <a:lstStyle/>
              <a:p>
                <a:r>
                  <a:rPr lang="de-DE" sz="900">
                    <a:latin typeface="Sofia Sans" panose="020B0604020202020204" charset="0"/>
                  </a:rPr>
                  <a:t>5</a:t>
                </a:r>
                <a:endParaRPr lang="en-DE" sz="900">
                  <a:latin typeface="Sofia Sans" panose="020B0604020202020204" charset="0"/>
                </a:endParaRPr>
              </a:p>
            </p:txBody>
          </p:sp>
        </p:grpSp>
        <p:grpSp>
          <p:nvGrpSpPr>
            <p:cNvPr id="40" name="Gruppieren 39">
              <a:extLst>
                <a:ext uri="{FF2B5EF4-FFF2-40B4-BE49-F238E27FC236}">
                  <a16:creationId xmlns:a16="http://schemas.microsoft.com/office/drawing/2014/main" id="{9E2A95EC-44DA-7E76-54FC-44BB8B0E7FEC}"/>
                </a:ext>
              </a:extLst>
            </p:cNvPr>
            <p:cNvGrpSpPr/>
            <p:nvPr/>
          </p:nvGrpSpPr>
          <p:grpSpPr>
            <a:xfrm>
              <a:off x="2255406" y="7886878"/>
              <a:ext cx="250792" cy="246778"/>
              <a:chOff x="973985" y="6729842"/>
              <a:chExt cx="250792" cy="246778"/>
            </a:xfrm>
          </p:grpSpPr>
          <p:sp>
            <p:nvSpPr>
              <p:cNvPr id="27" name="Ellipse 26">
                <a:extLst>
                  <a:ext uri="{FF2B5EF4-FFF2-40B4-BE49-F238E27FC236}">
                    <a16:creationId xmlns:a16="http://schemas.microsoft.com/office/drawing/2014/main" id="{CEC4928A-E6B9-4496-8738-009EC448E403}"/>
                  </a:ext>
                </a:extLst>
              </p:cNvPr>
              <p:cNvSpPr>
                <a:spLocks noChangeAspect="1"/>
              </p:cNvSpPr>
              <p:nvPr/>
            </p:nvSpPr>
            <p:spPr>
              <a:xfrm>
                <a:off x="973985" y="6729842"/>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8" name="Textfeld 27">
                <a:extLst>
                  <a:ext uri="{FF2B5EF4-FFF2-40B4-BE49-F238E27FC236}">
                    <a16:creationId xmlns:a16="http://schemas.microsoft.com/office/drawing/2014/main" id="{3824C853-C80A-6C08-B73B-1552A64F74D8}"/>
                  </a:ext>
                </a:extLst>
              </p:cNvPr>
              <p:cNvSpPr txBox="1"/>
              <p:nvPr/>
            </p:nvSpPr>
            <p:spPr>
              <a:xfrm>
                <a:off x="973985" y="6737815"/>
                <a:ext cx="185001" cy="230832"/>
              </a:xfrm>
              <a:prstGeom prst="rect">
                <a:avLst/>
              </a:prstGeom>
              <a:noFill/>
            </p:spPr>
            <p:txBody>
              <a:bodyPr wrap="square" rtlCol="0">
                <a:spAutoFit/>
              </a:bodyPr>
              <a:lstStyle/>
              <a:p>
                <a:r>
                  <a:rPr lang="de-DE" sz="900">
                    <a:latin typeface="Sofia Sans" panose="020B0604020202020204" charset="0"/>
                  </a:rPr>
                  <a:t>6</a:t>
                </a:r>
                <a:endParaRPr lang="en-DE" sz="900">
                  <a:latin typeface="Sofia Sans" panose="020B0604020202020204" charset="0"/>
                </a:endParaRPr>
              </a:p>
            </p:txBody>
          </p:sp>
        </p:grpSp>
        <p:grpSp>
          <p:nvGrpSpPr>
            <p:cNvPr id="39" name="Gruppieren 38">
              <a:extLst>
                <a:ext uri="{FF2B5EF4-FFF2-40B4-BE49-F238E27FC236}">
                  <a16:creationId xmlns:a16="http://schemas.microsoft.com/office/drawing/2014/main" id="{27B1DBD7-4908-F95F-F8AE-95D6FD18517C}"/>
                </a:ext>
              </a:extLst>
            </p:cNvPr>
            <p:cNvGrpSpPr/>
            <p:nvPr/>
          </p:nvGrpSpPr>
          <p:grpSpPr>
            <a:xfrm>
              <a:off x="2376646" y="6962815"/>
              <a:ext cx="250792" cy="246778"/>
              <a:chOff x="992827" y="6353324"/>
              <a:chExt cx="250792" cy="246778"/>
            </a:xfrm>
          </p:grpSpPr>
          <p:sp>
            <p:nvSpPr>
              <p:cNvPr id="29" name="Ellipse 28">
                <a:extLst>
                  <a:ext uri="{FF2B5EF4-FFF2-40B4-BE49-F238E27FC236}">
                    <a16:creationId xmlns:a16="http://schemas.microsoft.com/office/drawing/2014/main" id="{D47C605C-4682-725E-88AE-9CB6CF8915C1}"/>
                  </a:ext>
                </a:extLst>
              </p:cNvPr>
              <p:cNvSpPr>
                <a:spLocks noChangeAspect="1"/>
              </p:cNvSpPr>
              <p:nvPr/>
            </p:nvSpPr>
            <p:spPr>
              <a:xfrm>
                <a:off x="992827" y="6353324"/>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0" name="Textfeld 29">
                <a:extLst>
                  <a:ext uri="{FF2B5EF4-FFF2-40B4-BE49-F238E27FC236}">
                    <a16:creationId xmlns:a16="http://schemas.microsoft.com/office/drawing/2014/main" id="{58F1192F-9A4B-B848-6C1D-820FCA40F0D2}"/>
                  </a:ext>
                </a:extLst>
              </p:cNvPr>
              <p:cNvSpPr txBox="1"/>
              <p:nvPr/>
            </p:nvSpPr>
            <p:spPr>
              <a:xfrm>
                <a:off x="997480" y="6362852"/>
                <a:ext cx="185001" cy="230832"/>
              </a:xfrm>
              <a:prstGeom prst="rect">
                <a:avLst/>
              </a:prstGeom>
              <a:noFill/>
            </p:spPr>
            <p:txBody>
              <a:bodyPr wrap="square" rtlCol="0">
                <a:spAutoFit/>
              </a:bodyPr>
              <a:lstStyle/>
              <a:p>
                <a:r>
                  <a:rPr lang="de-DE" sz="900">
                    <a:latin typeface="Sofia Sans" panose="020B0604020202020204" charset="0"/>
                  </a:rPr>
                  <a:t>7</a:t>
                </a:r>
                <a:endParaRPr lang="en-DE" sz="900">
                  <a:latin typeface="Sofia Sans" panose="020B0604020202020204" charset="0"/>
                </a:endParaRPr>
              </a:p>
            </p:txBody>
          </p:sp>
        </p:grpSp>
        <p:grpSp>
          <p:nvGrpSpPr>
            <p:cNvPr id="38" name="Gruppieren 37">
              <a:extLst>
                <a:ext uri="{FF2B5EF4-FFF2-40B4-BE49-F238E27FC236}">
                  <a16:creationId xmlns:a16="http://schemas.microsoft.com/office/drawing/2014/main" id="{04279040-714B-3ED1-B27E-F78BE5C13D79}"/>
                </a:ext>
              </a:extLst>
            </p:cNvPr>
            <p:cNvGrpSpPr/>
            <p:nvPr/>
          </p:nvGrpSpPr>
          <p:grpSpPr>
            <a:xfrm>
              <a:off x="3779837" y="3634022"/>
              <a:ext cx="250792" cy="246778"/>
              <a:chOff x="997480" y="6040022"/>
              <a:chExt cx="250792" cy="246778"/>
            </a:xfrm>
          </p:grpSpPr>
          <p:sp>
            <p:nvSpPr>
              <p:cNvPr id="31" name="Ellipse 30">
                <a:extLst>
                  <a:ext uri="{FF2B5EF4-FFF2-40B4-BE49-F238E27FC236}">
                    <a16:creationId xmlns:a16="http://schemas.microsoft.com/office/drawing/2014/main" id="{BA628004-3BB5-F2F9-C6EB-AED5AE32FFC8}"/>
                  </a:ext>
                </a:extLst>
              </p:cNvPr>
              <p:cNvSpPr>
                <a:spLocks noChangeAspect="1"/>
              </p:cNvSpPr>
              <p:nvPr/>
            </p:nvSpPr>
            <p:spPr>
              <a:xfrm>
                <a:off x="997480" y="6040022"/>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2" name="Textfeld 31">
                <a:extLst>
                  <a:ext uri="{FF2B5EF4-FFF2-40B4-BE49-F238E27FC236}">
                    <a16:creationId xmlns:a16="http://schemas.microsoft.com/office/drawing/2014/main" id="{813674BD-C596-3840-9183-93226A58AD10}"/>
                  </a:ext>
                </a:extLst>
              </p:cNvPr>
              <p:cNvSpPr txBox="1"/>
              <p:nvPr/>
            </p:nvSpPr>
            <p:spPr>
              <a:xfrm>
                <a:off x="997480" y="6047995"/>
                <a:ext cx="185001" cy="230832"/>
              </a:xfrm>
              <a:prstGeom prst="rect">
                <a:avLst/>
              </a:prstGeom>
              <a:noFill/>
            </p:spPr>
            <p:txBody>
              <a:bodyPr wrap="square" rtlCol="0">
                <a:spAutoFit/>
              </a:bodyPr>
              <a:lstStyle/>
              <a:p>
                <a:r>
                  <a:rPr lang="de-DE" sz="900">
                    <a:latin typeface="Sofia Sans" panose="020B0604020202020204" charset="0"/>
                  </a:rPr>
                  <a:t>8</a:t>
                </a:r>
                <a:endParaRPr lang="en-DE" sz="900">
                  <a:latin typeface="Sofia Sans" panose="020B0604020202020204" charset="0"/>
                </a:endParaRPr>
              </a:p>
            </p:txBody>
          </p:sp>
        </p:grpSp>
        <p:grpSp>
          <p:nvGrpSpPr>
            <p:cNvPr id="37" name="Gruppieren 36">
              <a:extLst>
                <a:ext uri="{FF2B5EF4-FFF2-40B4-BE49-F238E27FC236}">
                  <a16:creationId xmlns:a16="http://schemas.microsoft.com/office/drawing/2014/main" id="{C25487EE-AF58-CBFD-15F6-827255127BA2}"/>
                </a:ext>
              </a:extLst>
            </p:cNvPr>
            <p:cNvGrpSpPr/>
            <p:nvPr/>
          </p:nvGrpSpPr>
          <p:grpSpPr>
            <a:xfrm>
              <a:off x="4650693" y="7801077"/>
              <a:ext cx="250792" cy="246778"/>
              <a:chOff x="1932200" y="5503417"/>
              <a:chExt cx="250792" cy="246778"/>
            </a:xfrm>
          </p:grpSpPr>
          <p:sp>
            <p:nvSpPr>
              <p:cNvPr id="33" name="Ellipse 32">
                <a:extLst>
                  <a:ext uri="{FF2B5EF4-FFF2-40B4-BE49-F238E27FC236}">
                    <a16:creationId xmlns:a16="http://schemas.microsoft.com/office/drawing/2014/main" id="{2C399A5A-BE34-BA69-CD10-C3A55BCE8E88}"/>
                  </a:ext>
                </a:extLst>
              </p:cNvPr>
              <p:cNvSpPr>
                <a:spLocks noChangeAspect="1"/>
              </p:cNvSpPr>
              <p:nvPr/>
            </p:nvSpPr>
            <p:spPr>
              <a:xfrm>
                <a:off x="1932200" y="550341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4" name="Textfeld 33">
                <a:extLst>
                  <a:ext uri="{FF2B5EF4-FFF2-40B4-BE49-F238E27FC236}">
                    <a16:creationId xmlns:a16="http://schemas.microsoft.com/office/drawing/2014/main" id="{5AE32B07-3302-6263-EB1F-AE15CF03D9DC}"/>
                  </a:ext>
                </a:extLst>
              </p:cNvPr>
              <p:cNvSpPr txBox="1"/>
              <p:nvPr/>
            </p:nvSpPr>
            <p:spPr>
              <a:xfrm>
                <a:off x="1939651" y="5511390"/>
                <a:ext cx="185001" cy="230832"/>
              </a:xfrm>
              <a:prstGeom prst="rect">
                <a:avLst/>
              </a:prstGeom>
              <a:noFill/>
            </p:spPr>
            <p:txBody>
              <a:bodyPr wrap="square" rtlCol="0">
                <a:spAutoFit/>
              </a:bodyPr>
              <a:lstStyle/>
              <a:p>
                <a:r>
                  <a:rPr lang="de-DE" sz="900">
                    <a:latin typeface="Sofia Sans" panose="020B0604020202020204" charset="0"/>
                  </a:rPr>
                  <a:t>9</a:t>
                </a:r>
                <a:endParaRPr lang="en-DE" sz="900">
                  <a:latin typeface="Sofia Sans" panose="020B0604020202020204" charset="0"/>
                </a:endParaRPr>
              </a:p>
            </p:txBody>
          </p:sp>
        </p:grpSp>
      </p:grpSp>
    </p:spTree>
    <p:extLst>
      <p:ext uri="{BB962C8B-B14F-4D97-AF65-F5344CB8AC3E}">
        <p14:creationId xmlns:p14="http://schemas.microsoft.com/office/powerpoint/2010/main" val="3908967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C4B6C-8954-77F9-78BB-0CDB80C50BC0}"/>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18FAC1F-4B6B-A78D-39A9-F715706F8AA9}"/>
              </a:ext>
            </a:extLst>
          </p:cNvPr>
          <p:cNvSpPr>
            <a:spLocks noGrp="1"/>
          </p:cNvSpPr>
          <p:nvPr>
            <p:ph type="sldNum" sz="quarter" idx="10"/>
          </p:nvPr>
        </p:nvSpPr>
        <p:spPr/>
        <p:txBody>
          <a:bodyPr/>
          <a:lstStyle/>
          <a:p>
            <a:fld id="{DF7F771E-9578-4C04-B869-01AF4C35C90C}" type="slidenum">
              <a:rPr lang="de-DE" smtClean="0"/>
              <a:t>13</a:t>
            </a:fld>
            <a:endParaRPr lang="de-DE"/>
          </a:p>
        </p:txBody>
      </p:sp>
      <p:sp>
        <p:nvSpPr>
          <p:cNvPr id="10" name="Titel 1">
            <a:extLst>
              <a:ext uri="{FF2B5EF4-FFF2-40B4-BE49-F238E27FC236}">
                <a16:creationId xmlns:a16="http://schemas.microsoft.com/office/drawing/2014/main" id="{742B7D9E-CE34-EAEB-FB75-0CA51E75BA0A}"/>
              </a:ext>
            </a:extLst>
          </p:cNvPr>
          <p:cNvSpPr txBox="1">
            <a:spLocks/>
          </p:cNvSpPr>
          <p:nvPr/>
        </p:nvSpPr>
        <p:spPr>
          <a:xfrm>
            <a:off x="709847" y="1306059"/>
            <a:ext cx="6369175" cy="5952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sz="2400" b="0" err="1">
                <a:solidFill>
                  <a:srgbClr val="FF0000"/>
                </a:solidFill>
              </a:rPr>
              <a:t>Hydro</a:t>
            </a:r>
            <a:r>
              <a:rPr lang="de-DE" sz="2400" b="0">
                <a:solidFill>
                  <a:srgbClr val="FF0000"/>
                </a:solidFill>
              </a:rPr>
              <a:t> Power </a:t>
            </a:r>
            <a:r>
              <a:rPr lang="de-DE" sz="2400" b="0" err="1">
                <a:solidFill>
                  <a:srgbClr val="FF0000"/>
                </a:solidFill>
              </a:rPr>
              <a:t>Hunt</a:t>
            </a:r>
            <a:r>
              <a:rPr lang="de-DE" sz="2400" b="0">
                <a:solidFill>
                  <a:srgbClr val="FF0000"/>
                </a:solidFill>
              </a:rPr>
              <a:t> Challenge – Sample Solution</a:t>
            </a:r>
          </a:p>
        </p:txBody>
      </p:sp>
      <p:sp>
        <p:nvSpPr>
          <p:cNvPr id="2" name="Untertitel 3">
            <a:extLst>
              <a:ext uri="{FF2B5EF4-FFF2-40B4-BE49-F238E27FC236}">
                <a16:creationId xmlns:a16="http://schemas.microsoft.com/office/drawing/2014/main" id="{07602FDA-40BD-8070-63E0-D4913D09135A}"/>
              </a:ext>
            </a:extLst>
          </p:cNvPr>
          <p:cNvSpPr txBox="1">
            <a:spLocks/>
          </p:cNvSpPr>
          <p:nvPr/>
        </p:nvSpPr>
        <p:spPr>
          <a:xfrm>
            <a:off x="1787841" y="2307846"/>
            <a:ext cx="5252722" cy="11922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Font typeface="Arial" panose="020B0604020202020204" pitchFamily="34" charset="0"/>
              <a:buChar char="•"/>
            </a:pPr>
            <a:r>
              <a:rPr lang="en-US" sz="1160">
                <a:solidFill>
                  <a:srgbClr val="FF0000"/>
                </a:solidFill>
              </a:rPr>
              <a:t>Lake Volta could serve as a vast natural </a:t>
            </a:r>
            <a:r>
              <a:rPr lang="en-US" sz="1160" b="1">
                <a:solidFill>
                  <a:srgbClr val="FF0000"/>
                </a:solidFill>
              </a:rPr>
              <a:t>reservoir.</a:t>
            </a:r>
            <a:r>
              <a:rPr lang="en-US" sz="1160">
                <a:solidFill>
                  <a:srgbClr val="FF0000"/>
                </a:solidFill>
              </a:rPr>
              <a:t> </a:t>
            </a:r>
          </a:p>
          <a:p>
            <a:pPr>
              <a:buClr>
                <a:schemeClr val="accent5"/>
              </a:buClr>
              <a:buFont typeface="Arial" panose="020B0604020202020204" pitchFamily="34" charset="0"/>
              <a:buChar char="•"/>
            </a:pPr>
            <a:r>
              <a:rPr lang="en-US" sz="1160">
                <a:solidFill>
                  <a:srgbClr val="FF0000"/>
                </a:solidFill>
              </a:rPr>
              <a:t>As depicted, the lake </a:t>
            </a:r>
            <a:r>
              <a:rPr lang="en-US" sz="1160" b="1">
                <a:solidFill>
                  <a:srgbClr val="FF0000"/>
                </a:solidFill>
              </a:rPr>
              <a:t>feeds a network of rivers</a:t>
            </a:r>
            <a:r>
              <a:rPr lang="en-US" sz="1160">
                <a:solidFill>
                  <a:srgbClr val="FF0000"/>
                </a:solidFill>
              </a:rPr>
              <a:t>, making it a prime location for potential </a:t>
            </a:r>
            <a:r>
              <a:rPr lang="en-US" sz="1160" b="1">
                <a:solidFill>
                  <a:srgbClr val="FF0000"/>
                </a:solidFill>
              </a:rPr>
              <a:t>dam</a:t>
            </a:r>
            <a:r>
              <a:rPr lang="en-US" sz="1160">
                <a:solidFill>
                  <a:srgbClr val="FF0000"/>
                </a:solidFill>
              </a:rPr>
              <a:t> construction. </a:t>
            </a:r>
          </a:p>
          <a:p>
            <a:pPr>
              <a:buClr>
                <a:schemeClr val="accent5"/>
              </a:buClr>
              <a:buFont typeface="Arial" panose="020B0604020202020204" pitchFamily="34" charset="0"/>
              <a:buChar char="•"/>
            </a:pPr>
            <a:r>
              <a:rPr lang="en-US" sz="1160">
                <a:solidFill>
                  <a:srgbClr val="FF0000"/>
                </a:solidFill>
              </a:rPr>
              <a:t>Situated in a </a:t>
            </a:r>
            <a:r>
              <a:rPr lang="en-US" sz="1160" b="1">
                <a:solidFill>
                  <a:srgbClr val="FF0000"/>
                </a:solidFill>
              </a:rPr>
              <a:t>mountainous</a:t>
            </a:r>
            <a:r>
              <a:rPr lang="en-US" sz="1160">
                <a:solidFill>
                  <a:srgbClr val="FF0000"/>
                </a:solidFill>
              </a:rPr>
              <a:t> region, the </a:t>
            </a:r>
            <a:r>
              <a:rPr lang="en-US" sz="1160" b="1">
                <a:solidFill>
                  <a:srgbClr val="FF0000"/>
                </a:solidFill>
              </a:rPr>
              <a:t>rivers</a:t>
            </a:r>
            <a:r>
              <a:rPr lang="en-US" sz="1160">
                <a:solidFill>
                  <a:srgbClr val="FF0000"/>
                </a:solidFill>
              </a:rPr>
              <a:t> benefit from </a:t>
            </a:r>
            <a:r>
              <a:rPr lang="en-US" sz="1160" b="1">
                <a:solidFill>
                  <a:srgbClr val="FF0000"/>
                </a:solidFill>
              </a:rPr>
              <a:t>natural water flow</a:t>
            </a:r>
            <a:r>
              <a:rPr lang="en-US" sz="1160">
                <a:solidFill>
                  <a:srgbClr val="FF0000"/>
                </a:solidFill>
              </a:rPr>
              <a:t> due to the </a:t>
            </a:r>
            <a:r>
              <a:rPr lang="en-US" sz="1160" b="1">
                <a:solidFill>
                  <a:srgbClr val="FF0000"/>
                </a:solidFill>
              </a:rPr>
              <a:t>incline</a:t>
            </a:r>
            <a:r>
              <a:rPr lang="en-US" sz="1160">
                <a:solidFill>
                  <a:srgbClr val="FF0000"/>
                </a:solidFill>
              </a:rPr>
              <a:t>, enhancing </a:t>
            </a:r>
            <a:r>
              <a:rPr lang="en-US" sz="1160" b="1">
                <a:solidFill>
                  <a:srgbClr val="FF0000"/>
                </a:solidFill>
              </a:rPr>
              <a:t>their potential for energy</a:t>
            </a:r>
            <a:r>
              <a:rPr lang="en-US" sz="1160">
                <a:solidFill>
                  <a:srgbClr val="FF0000"/>
                </a:solidFill>
              </a:rPr>
              <a:t> generation.</a:t>
            </a:r>
            <a:endParaRPr lang="de-DE" sz="1160">
              <a:solidFill>
                <a:srgbClr val="FF0000"/>
              </a:solidFill>
            </a:endParaRPr>
          </a:p>
        </p:txBody>
      </p:sp>
      <p:sp>
        <p:nvSpPr>
          <p:cNvPr id="3" name="Untertitel 3">
            <a:extLst>
              <a:ext uri="{FF2B5EF4-FFF2-40B4-BE49-F238E27FC236}">
                <a16:creationId xmlns:a16="http://schemas.microsoft.com/office/drawing/2014/main" id="{8351DA2A-5393-7C35-7093-C5A6A1ABE832}"/>
              </a:ext>
            </a:extLst>
          </p:cNvPr>
          <p:cNvSpPr txBox="1">
            <a:spLocks/>
          </p:cNvSpPr>
          <p:nvPr/>
        </p:nvSpPr>
        <p:spPr>
          <a:xfrm>
            <a:off x="1767806" y="3831419"/>
            <a:ext cx="5252722" cy="13694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Font typeface="Arial" panose="020B0604020202020204" pitchFamily="34" charset="0"/>
              <a:buChar char="•"/>
            </a:pPr>
            <a:r>
              <a:rPr lang="en-US" sz="1200">
                <a:solidFill>
                  <a:srgbClr val="FF0000"/>
                </a:solidFill>
              </a:rPr>
              <a:t>Smaller rivers likely have less hydro energy potential. </a:t>
            </a:r>
          </a:p>
          <a:p>
            <a:pPr>
              <a:buClr>
                <a:schemeClr val="accent5"/>
              </a:buClr>
              <a:buFont typeface="Arial" panose="020B0604020202020204" pitchFamily="34" charset="0"/>
              <a:buChar char="•"/>
            </a:pPr>
            <a:r>
              <a:rPr lang="en-US" sz="1200">
                <a:solidFill>
                  <a:srgbClr val="FF0000"/>
                </a:solidFill>
              </a:rPr>
              <a:t>However, since the water originates from higher mountainous regions and flows toward the ocean, there is still potential for energy generation.</a:t>
            </a:r>
          </a:p>
          <a:p>
            <a:pPr>
              <a:buClr>
                <a:schemeClr val="accent5"/>
              </a:buClr>
              <a:buFont typeface="Arial" panose="020B0604020202020204" pitchFamily="34" charset="0"/>
              <a:buChar char="•"/>
            </a:pPr>
            <a:r>
              <a:rPr lang="en-US" sz="1200">
                <a:solidFill>
                  <a:srgbClr val="FF0000"/>
                </a:solidFill>
              </a:rPr>
              <a:t> Additionally, locations where two or more rivers converge into a larger one could result in increased water flow, offering more opportunities to harness hydro energy.</a:t>
            </a:r>
            <a:endParaRPr lang="de-DE" sz="1200">
              <a:solidFill>
                <a:srgbClr val="FF0000"/>
              </a:solidFill>
            </a:endParaRPr>
          </a:p>
        </p:txBody>
      </p:sp>
      <p:sp>
        <p:nvSpPr>
          <p:cNvPr id="4" name="Untertitel 3">
            <a:extLst>
              <a:ext uri="{FF2B5EF4-FFF2-40B4-BE49-F238E27FC236}">
                <a16:creationId xmlns:a16="http://schemas.microsoft.com/office/drawing/2014/main" id="{912D527B-E81D-B3C6-74AF-6DC859380C06}"/>
              </a:ext>
            </a:extLst>
          </p:cNvPr>
          <p:cNvSpPr txBox="1">
            <a:spLocks/>
          </p:cNvSpPr>
          <p:nvPr/>
        </p:nvSpPr>
        <p:spPr>
          <a:xfrm>
            <a:off x="1787841" y="5532126"/>
            <a:ext cx="5252722" cy="13694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Font typeface="Arial" panose="020B0604020202020204" pitchFamily="34" charset="0"/>
              <a:buChar char="•"/>
            </a:pPr>
            <a:r>
              <a:rPr lang="en-US" sz="1200">
                <a:solidFill>
                  <a:srgbClr val="FF0000"/>
                </a:solidFill>
              </a:rPr>
              <a:t>Hydropower potential could also be harnessed from tidal and wave energy. </a:t>
            </a:r>
          </a:p>
          <a:p>
            <a:pPr>
              <a:buClr>
                <a:schemeClr val="accent5"/>
              </a:buClr>
              <a:buFont typeface="Arial" panose="020B0604020202020204" pitchFamily="34" charset="0"/>
              <a:buChar char="•"/>
            </a:pPr>
            <a:r>
              <a:rPr lang="en-US" sz="1200">
                <a:solidFill>
                  <a:srgbClr val="FF0000"/>
                </a:solidFill>
              </a:rPr>
              <a:t>There may be suitable locations for additional harvesting of water motion. </a:t>
            </a:r>
          </a:p>
          <a:p>
            <a:pPr>
              <a:buClr>
                <a:schemeClr val="accent5"/>
              </a:buClr>
              <a:buFont typeface="Arial" panose="020B0604020202020204" pitchFamily="34" charset="0"/>
              <a:buChar char="•"/>
            </a:pPr>
            <a:r>
              <a:rPr lang="en-US" sz="1200">
                <a:solidFill>
                  <a:srgbClr val="FF0000"/>
                </a:solidFill>
              </a:rPr>
              <a:t>However, this technology is relatively new, which may make it less suitable for widespread use at present.</a:t>
            </a:r>
            <a:endParaRPr lang="de-DE" sz="1200">
              <a:solidFill>
                <a:srgbClr val="FF0000"/>
              </a:solidFill>
            </a:endParaRPr>
          </a:p>
        </p:txBody>
      </p:sp>
      <p:grpSp>
        <p:nvGrpSpPr>
          <p:cNvPr id="14" name="Gruppieren 13">
            <a:extLst>
              <a:ext uri="{FF2B5EF4-FFF2-40B4-BE49-F238E27FC236}">
                <a16:creationId xmlns:a16="http://schemas.microsoft.com/office/drawing/2014/main" id="{12F91BB2-F698-AA83-56A4-88B044DA0573}"/>
              </a:ext>
            </a:extLst>
          </p:cNvPr>
          <p:cNvGrpSpPr/>
          <p:nvPr/>
        </p:nvGrpSpPr>
        <p:grpSpPr>
          <a:xfrm>
            <a:off x="1192374" y="2369927"/>
            <a:ext cx="575432" cy="1005984"/>
            <a:chOff x="1168196" y="1828538"/>
            <a:chExt cx="575432" cy="1005984"/>
          </a:xfrm>
        </p:grpSpPr>
        <p:grpSp>
          <p:nvGrpSpPr>
            <p:cNvPr id="17" name="Gruppieren 16">
              <a:extLst>
                <a:ext uri="{FF2B5EF4-FFF2-40B4-BE49-F238E27FC236}">
                  <a16:creationId xmlns:a16="http://schemas.microsoft.com/office/drawing/2014/main" id="{7A34DEBE-A46B-13ED-7183-2B9668BEE0D8}"/>
                </a:ext>
              </a:extLst>
            </p:cNvPr>
            <p:cNvGrpSpPr/>
            <p:nvPr/>
          </p:nvGrpSpPr>
          <p:grpSpPr>
            <a:xfrm>
              <a:off x="1168649" y="1828538"/>
              <a:ext cx="250792" cy="246778"/>
              <a:chOff x="593741" y="5524987"/>
              <a:chExt cx="250792" cy="246778"/>
            </a:xfrm>
          </p:grpSpPr>
          <p:sp>
            <p:nvSpPr>
              <p:cNvPr id="15" name="Ellipse 14">
                <a:extLst>
                  <a:ext uri="{FF2B5EF4-FFF2-40B4-BE49-F238E27FC236}">
                    <a16:creationId xmlns:a16="http://schemas.microsoft.com/office/drawing/2014/main" id="{1558FE81-4E82-312C-ECC0-DC02F9AD3EAE}"/>
                  </a:ext>
                </a:extLst>
              </p:cNvPr>
              <p:cNvSpPr>
                <a:spLocks noChangeAspect="1"/>
              </p:cNvSpPr>
              <p:nvPr/>
            </p:nvSpPr>
            <p:spPr>
              <a:xfrm>
                <a:off x="593741" y="552498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6" name="Textfeld 15">
                <a:extLst>
                  <a:ext uri="{FF2B5EF4-FFF2-40B4-BE49-F238E27FC236}">
                    <a16:creationId xmlns:a16="http://schemas.microsoft.com/office/drawing/2014/main" id="{9E5E9905-E8A3-1ADB-4929-BD1B612F5A14}"/>
                  </a:ext>
                </a:extLst>
              </p:cNvPr>
              <p:cNvSpPr txBox="1"/>
              <p:nvPr/>
            </p:nvSpPr>
            <p:spPr>
              <a:xfrm>
                <a:off x="606684" y="5532960"/>
                <a:ext cx="185001" cy="230832"/>
              </a:xfrm>
              <a:prstGeom prst="rect">
                <a:avLst/>
              </a:prstGeom>
              <a:noFill/>
            </p:spPr>
            <p:txBody>
              <a:bodyPr wrap="square" rtlCol="0">
                <a:spAutoFit/>
              </a:bodyPr>
              <a:lstStyle/>
              <a:p>
                <a:r>
                  <a:rPr lang="de-DE" sz="900">
                    <a:latin typeface="Sofia Sans" panose="020B0604020202020204" charset="0"/>
                  </a:rPr>
                  <a:t>1</a:t>
                </a:r>
                <a:endParaRPr lang="en-DE" sz="900">
                  <a:latin typeface="Sofia Sans" panose="020B0604020202020204" charset="0"/>
                </a:endParaRPr>
              </a:p>
            </p:txBody>
          </p:sp>
        </p:grpSp>
        <p:grpSp>
          <p:nvGrpSpPr>
            <p:cNvPr id="20" name="Gruppieren 19">
              <a:extLst>
                <a:ext uri="{FF2B5EF4-FFF2-40B4-BE49-F238E27FC236}">
                  <a16:creationId xmlns:a16="http://schemas.microsoft.com/office/drawing/2014/main" id="{1774FBFC-E7C4-CC98-52A8-E0A11A4A9022}"/>
                </a:ext>
              </a:extLst>
            </p:cNvPr>
            <p:cNvGrpSpPr/>
            <p:nvPr/>
          </p:nvGrpSpPr>
          <p:grpSpPr>
            <a:xfrm>
              <a:off x="1171859" y="2084195"/>
              <a:ext cx="250792" cy="246778"/>
              <a:chOff x="593741" y="5836627"/>
              <a:chExt cx="250792" cy="246778"/>
            </a:xfrm>
          </p:grpSpPr>
          <p:sp>
            <p:nvSpPr>
              <p:cNvPr id="18" name="Ellipse 17">
                <a:extLst>
                  <a:ext uri="{FF2B5EF4-FFF2-40B4-BE49-F238E27FC236}">
                    <a16:creationId xmlns:a16="http://schemas.microsoft.com/office/drawing/2014/main" id="{6178A759-2FBE-DDFB-F4B1-EB009FDE5C63}"/>
                  </a:ext>
                </a:extLst>
              </p:cNvPr>
              <p:cNvSpPr>
                <a:spLocks noChangeAspect="1"/>
              </p:cNvSpPr>
              <p:nvPr/>
            </p:nvSpPr>
            <p:spPr>
              <a:xfrm>
                <a:off x="593741" y="583662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9" name="Textfeld 18">
                <a:extLst>
                  <a:ext uri="{FF2B5EF4-FFF2-40B4-BE49-F238E27FC236}">
                    <a16:creationId xmlns:a16="http://schemas.microsoft.com/office/drawing/2014/main" id="{A042B9EF-A230-A807-FF4D-009FED3AC44A}"/>
                  </a:ext>
                </a:extLst>
              </p:cNvPr>
              <p:cNvSpPr txBox="1"/>
              <p:nvPr/>
            </p:nvSpPr>
            <p:spPr>
              <a:xfrm>
                <a:off x="593741" y="5844600"/>
                <a:ext cx="185001" cy="230832"/>
              </a:xfrm>
              <a:prstGeom prst="rect">
                <a:avLst/>
              </a:prstGeom>
              <a:noFill/>
            </p:spPr>
            <p:txBody>
              <a:bodyPr wrap="square" rtlCol="0">
                <a:spAutoFit/>
              </a:bodyPr>
              <a:lstStyle/>
              <a:p>
                <a:r>
                  <a:rPr lang="de-DE" sz="900">
                    <a:latin typeface="Sofia Sans" panose="020B0604020202020204" charset="0"/>
                  </a:rPr>
                  <a:t>2</a:t>
                </a:r>
                <a:endParaRPr lang="en-DE" sz="900">
                  <a:latin typeface="Sofia Sans" panose="020B0604020202020204" charset="0"/>
                </a:endParaRPr>
              </a:p>
            </p:txBody>
          </p:sp>
        </p:grpSp>
        <p:grpSp>
          <p:nvGrpSpPr>
            <p:cNvPr id="36" name="Gruppieren 35">
              <a:extLst>
                <a:ext uri="{FF2B5EF4-FFF2-40B4-BE49-F238E27FC236}">
                  <a16:creationId xmlns:a16="http://schemas.microsoft.com/office/drawing/2014/main" id="{D2640D90-CCB7-DE5B-D572-1CD21ACC6C17}"/>
                </a:ext>
              </a:extLst>
            </p:cNvPr>
            <p:cNvGrpSpPr/>
            <p:nvPr/>
          </p:nvGrpSpPr>
          <p:grpSpPr>
            <a:xfrm>
              <a:off x="1171457" y="2333553"/>
              <a:ext cx="250792" cy="246778"/>
              <a:chOff x="588402" y="6148267"/>
              <a:chExt cx="250792" cy="246778"/>
            </a:xfrm>
          </p:grpSpPr>
          <p:sp>
            <p:nvSpPr>
              <p:cNvPr id="21" name="Ellipse 20">
                <a:extLst>
                  <a:ext uri="{FF2B5EF4-FFF2-40B4-BE49-F238E27FC236}">
                    <a16:creationId xmlns:a16="http://schemas.microsoft.com/office/drawing/2014/main" id="{F4813BB2-382B-4F15-EF51-EA545EDF097C}"/>
                  </a:ext>
                </a:extLst>
              </p:cNvPr>
              <p:cNvSpPr>
                <a:spLocks noChangeAspect="1"/>
              </p:cNvSpPr>
              <p:nvPr/>
            </p:nvSpPr>
            <p:spPr>
              <a:xfrm>
                <a:off x="588402" y="614826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2" name="Textfeld 21">
                <a:extLst>
                  <a:ext uri="{FF2B5EF4-FFF2-40B4-BE49-F238E27FC236}">
                    <a16:creationId xmlns:a16="http://schemas.microsoft.com/office/drawing/2014/main" id="{0A868FF3-8B5A-4F71-4B33-102A44CF0A01}"/>
                  </a:ext>
                </a:extLst>
              </p:cNvPr>
              <p:cNvSpPr txBox="1"/>
              <p:nvPr/>
            </p:nvSpPr>
            <p:spPr>
              <a:xfrm>
                <a:off x="593741" y="6156240"/>
                <a:ext cx="185001" cy="230832"/>
              </a:xfrm>
              <a:prstGeom prst="rect">
                <a:avLst/>
              </a:prstGeom>
              <a:noFill/>
            </p:spPr>
            <p:txBody>
              <a:bodyPr wrap="square" rtlCol="0">
                <a:spAutoFit/>
              </a:bodyPr>
              <a:lstStyle/>
              <a:p>
                <a:r>
                  <a:rPr lang="de-DE" sz="900">
                    <a:latin typeface="Sofia Sans" panose="020B0604020202020204" charset="0"/>
                  </a:rPr>
                  <a:t>3</a:t>
                </a:r>
                <a:endParaRPr lang="en-DE" sz="900">
                  <a:latin typeface="Sofia Sans" panose="020B0604020202020204" charset="0"/>
                </a:endParaRPr>
              </a:p>
            </p:txBody>
          </p:sp>
        </p:grpSp>
        <p:grpSp>
          <p:nvGrpSpPr>
            <p:cNvPr id="42" name="Gruppieren 41">
              <a:extLst>
                <a:ext uri="{FF2B5EF4-FFF2-40B4-BE49-F238E27FC236}">
                  <a16:creationId xmlns:a16="http://schemas.microsoft.com/office/drawing/2014/main" id="{A5AAEAD3-9BBA-EE92-7A54-0599013B70AC}"/>
                </a:ext>
              </a:extLst>
            </p:cNvPr>
            <p:cNvGrpSpPr/>
            <p:nvPr/>
          </p:nvGrpSpPr>
          <p:grpSpPr>
            <a:xfrm>
              <a:off x="1168196" y="2587744"/>
              <a:ext cx="250792" cy="246778"/>
              <a:chOff x="560638" y="6470295"/>
              <a:chExt cx="250792" cy="246778"/>
            </a:xfrm>
          </p:grpSpPr>
          <p:sp>
            <p:nvSpPr>
              <p:cNvPr id="23" name="Ellipse 22">
                <a:extLst>
                  <a:ext uri="{FF2B5EF4-FFF2-40B4-BE49-F238E27FC236}">
                    <a16:creationId xmlns:a16="http://schemas.microsoft.com/office/drawing/2014/main" id="{552A3726-1E4D-9323-01FB-28C3AA12F02B}"/>
                  </a:ext>
                </a:extLst>
              </p:cNvPr>
              <p:cNvSpPr>
                <a:spLocks noChangeAspect="1"/>
              </p:cNvSpPr>
              <p:nvPr/>
            </p:nvSpPr>
            <p:spPr>
              <a:xfrm>
                <a:off x="560638" y="6470295"/>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4" name="Textfeld 23">
                <a:extLst>
                  <a:ext uri="{FF2B5EF4-FFF2-40B4-BE49-F238E27FC236}">
                    <a16:creationId xmlns:a16="http://schemas.microsoft.com/office/drawing/2014/main" id="{F0580682-4B91-CA44-4F33-C50C3F50DAFA}"/>
                  </a:ext>
                </a:extLst>
              </p:cNvPr>
              <p:cNvSpPr txBox="1"/>
              <p:nvPr/>
            </p:nvSpPr>
            <p:spPr>
              <a:xfrm>
                <a:off x="560638" y="6478268"/>
                <a:ext cx="185001" cy="230832"/>
              </a:xfrm>
              <a:prstGeom prst="rect">
                <a:avLst/>
              </a:prstGeom>
              <a:noFill/>
            </p:spPr>
            <p:txBody>
              <a:bodyPr wrap="square" rtlCol="0">
                <a:spAutoFit/>
              </a:bodyPr>
              <a:lstStyle/>
              <a:p>
                <a:r>
                  <a:rPr lang="de-DE" sz="900">
                    <a:latin typeface="Sofia Sans" panose="020B0604020202020204" charset="0"/>
                  </a:rPr>
                  <a:t>4</a:t>
                </a:r>
                <a:endParaRPr lang="en-DE" sz="900">
                  <a:latin typeface="Sofia Sans" panose="020B0604020202020204" charset="0"/>
                </a:endParaRPr>
              </a:p>
            </p:txBody>
          </p:sp>
        </p:grpSp>
        <p:sp>
          <p:nvSpPr>
            <p:cNvPr id="6" name="Geschweifte Klammer rechts 5">
              <a:extLst>
                <a:ext uri="{FF2B5EF4-FFF2-40B4-BE49-F238E27FC236}">
                  <a16:creationId xmlns:a16="http://schemas.microsoft.com/office/drawing/2014/main" id="{5E8676A8-8261-A3A2-E5D1-2EA45AE106BC}"/>
                </a:ext>
              </a:extLst>
            </p:cNvPr>
            <p:cNvSpPr/>
            <p:nvPr/>
          </p:nvSpPr>
          <p:spPr>
            <a:xfrm>
              <a:off x="1492836" y="1836510"/>
              <a:ext cx="250792" cy="9980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grpSp>
        <p:nvGrpSpPr>
          <p:cNvPr id="13" name="Gruppieren 12">
            <a:extLst>
              <a:ext uri="{FF2B5EF4-FFF2-40B4-BE49-F238E27FC236}">
                <a16:creationId xmlns:a16="http://schemas.microsoft.com/office/drawing/2014/main" id="{8A786B1E-DE71-D63D-CA66-9806A140AFAB}"/>
              </a:ext>
            </a:extLst>
          </p:cNvPr>
          <p:cNvGrpSpPr/>
          <p:nvPr/>
        </p:nvGrpSpPr>
        <p:grpSpPr>
          <a:xfrm>
            <a:off x="1221009" y="4023131"/>
            <a:ext cx="566863" cy="1011942"/>
            <a:chOff x="1176796" y="3530762"/>
            <a:chExt cx="566863" cy="1011942"/>
          </a:xfrm>
        </p:grpSpPr>
        <p:grpSp>
          <p:nvGrpSpPr>
            <p:cNvPr id="41" name="Gruppieren 40">
              <a:extLst>
                <a:ext uri="{FF2B5EF4-FFF2-40B4-BE49-F238E27FC236}">
                  <a16:creationId xmlns:a16="http://schemas.microsoft.com/office/drawing/2014/main" id="{0AC3CA41-D465-79C8-188E-C801751249AA}"/>
                </a:ext>
              </a:extLst>
            </p:cNvPr>
            <p:cNvGrpSpPr/>
            <p:nvPr/>
          </p:nvGrpSpPr>
          <p:grpSpPr>
            <a:xfrm>
              <a:off x="1176796" y="3530762"/>
              <a:ext cx="250792" cy="246778"/>
              <a:chOff x="593741" y="6744674"/>
              <a:chExt cx="250792" cy="246778"/>
            </a:xfrm>
          </p:grpSpPr>
          <p:sp>
            <p:nvSpPr>
              <p:cNvPr id="25" name="Ellipse 24">
                <a:extLst>
                  <a:ext uri="{FF2B5EF4-FFF2-40B4-BE49-F238E27FC236}">
                    <a16:creationId xmlns:a16="http://schemas.microsoft.com/office/drawing/2014/main" id="{2B77A902-D6A3-5C9A-7DB2-D87BB8772FE9}"/>
                  </a:ext>
                </a:extLst>
              </p:cNvPr>
              <p:cNvSpPr>
                <a:spLocks noChangeAspect="1"/>
              </p:cNvSpPr>
              <p:nvPr/>
            </p:nvSpPr>
            <p:spPr>
              <a:xfrm>
                <a:off x="593741" y="6744674"/>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6" name="Textfeld 25">
                <a:extLst>
                  <a:ext uri="{FF2B5EF4-FFF2-40B4-BE49-F238E27FC236}">
                    <a16:creationId xmlns:a16="http://schemas.microsoft.com/office/drawing/2014/main" id="{80C98BCC-AD23-6945-9BD5-6B6110D3B3E2}"/>
                  </a:ext>
                </a:extLst>
              </p:cNvPr>
              <p:cNvSpPr txBox="1"/>
              <p:nvPr/>
            </p:nvSpPr>
            <p:spPr>
              <a:xfrm>
                <a:off x="593741" y="6760620"/>
                <a:ext cx="185001" cy="230832"/>
              </a:xfrm>
              <a:prstGeom prst="rect">
                <a:avLst/>
              </a:prstGeom>
              <a:noFill/>
            </p:spPr>
            <p:txBody>
              <a:bodyPr wrap="square" rtlCol="0">
                <a:spAutoFit/>
              </a:bodyPr>
              <a:lstStyle/>
              <a:p>
                <a:r>
                  <a:rPr lang="de-DE" sz="900">
                    <a:latin typeface="Sofia Sans" panose="020B0604020202020204" charset="0"/>
                  </a:rPr>
                  <a:t>5</a:t>
                </a:r>
                <a:endParaRPr lang="en-DE" sz="900">
                  <a:latin typeface="Sofia Sans" panose="020B0604020202020204" charset="0"/>
                </a:endParaRPr>
              </a:p>
            </p:txBody>
          </p:sp>
        </p:grpSp>
        <p:grpSp>
          <p:nvGrpSpPr>
            <p:cNvPr id="40" name="Gruppieren 39">
              <a:extLst>
                <a:ext uri="{FF2B5EF4-FFF2-40B4-BE49-F238E27FC236}">
                  <a16:creationId xmlns:a16="http://schemas.microsoft.com/office/drawing/2014/main" id="{83CD915B-D12A-146A-473A-1749A0F77BA0}"/>
                </a:ext>
              </a:extLst>
            </p:cNvPr>
            <p:cNvGrpSpPr/>
            <p:nvPr/>
          </p:nvGrpSpPr>
          <p:grpSpPr>
            <a:xfrm>
              <a:off x="1176796" y="3784953"/>
              <a:ext cx="250792" cy="246778"/>
              <a:chOff x="973985" y="6729842"/>
              <a:chExt cx="250792" cy="246778"/>
            </a:xfrm>
          </p:grpSpPr>
          <p:sp>
            <p:nvSpPr>
              <p:cNvPr id="27" name="Ellipse 26">
                <a:extLst>
                  <a:ext uri="{FF2B5EF4-FFF2-40B4-BE49-F238E27FC236}">
                    <a16:creationId xmlns:a16="http://schemas.microsoft.com/office/drawing/2014/main" id="{C6F6F208-858B-B0E3-D183-AA6BBD080C7E}"/>
                  </a:ext>
                </a:extLst>
              </p:cNvPr>
              <p:cNvSpPr>
                <a:spLocks noChangeAspect="1"/>
              </p:cNvSpPr>
              <p:nvPr/>
            </p:nvSpPr>
            <p:spPr>
              <a:xfrm>
                <a:off x="973985" y="6729842"/>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28" name="Textfeld 27">
                <a:extLst>
                  <a:ext uri="{FF2B5EF4-FFF2-40B4-BE49-F238E27FC236}">
                    <a16:creationId xmlns:a16="http://schemas.microsoft.com/office/drawing/2014/main" id="{B026A20D-D20F-D5C3-04A8-58F8FA5B33D3}"/>
                  </a:ext>
                </a:extLst>
              </p:cNvPr>
              <p:cNvSpPr txBox="1"/>
              <p:nvPr/>
            </p:nvSpPr>
            <p:spPr>
              <a:xfrm>
                <a:off x="973985" y="6737815"/>
                <a:ext cx="185001" cy="230832"/>
              </a:xfrm>
              <a:prstGeom prst="rect">
                <a:avLst/>
              </a:prstGeom>
              <a:noFill/>
            </p:spPr>
            <p:txBody>
              <a:bodyPr wrap="square" rtlCol="0">
                <a:spAutoFit/>
              </a:bodyPr>
              <a:lstStyle/>
              <a:p>
                <a:r>
                  <a:rPr lang="de-DE" sz="900">
                    <a:latin typeface="Sofia Sans" panose="020B0604020202020204" charset="0"/>
                  </a:rPr>
                  <a:t>6</a:t>
                </a:r>
                <a:endParaRPr lang="en-DE" sz="900">
                  <a:latin typeface="Sofia Sans" panose="020B0604020202020204" charset="0"/>
                </a:endParaRPr>
              </a:p>
            </p:txBody>
          </p:sp>
        </p:grpSp>
        <p:grpSp>
          <p:nvGrpSpPr>
            <p:cNvPr id="39" name="Gruppieren 38">
              <a:extLst>
                <a:ext uri="{FF2B5EF4-FFF2-40B4-BE49-F238E27FC236}">
                  <a16:creationId xmlns:a16="http://schemas.microsoft.com/office/drawing/2014/main" id="{226491D6-DE79-DFE6-84EC-CAED96F0745E}"/>
                </a:ext>
              </a:extLst>
            </p:cNvPr>
            <p:cNvGrpSpPr/>
            <p:nvPr/>
          </p:nvGrpSpPr>
          <p:grpSpPr>
            <a:xfrm>
              <a:off x="1180432" y="4039155"/>
              <a:ext cx="250792" cy="246778"/>
              <a:chOff x="992827" y="6353324"/>
              <a:chExt cx="250792" cy="246778"/>
            </a:xfrm>
          </p:grpSpPr>
          <p:sp>
            <p:nvSpPr>
              <p:cNvPr id="29" name="Ellipse 28">
                <a:extLst>
                  <a:ext uri="{FF2B5EF4-FFF2-40B4-BE49-F238E27FC236}">
                    <a16:creationId xmlns:a16="http://schemas.microsoft.com/office/drawing/2014/main" id="{8F06BEAC-A9D8-C25D-E388-549653FECC21}"/>
                  </a:ext>
                </a:extLst>
              </p:cNvPr>
              <p:cNvSpPr>
                <a:spLocks noChangeAspect="1"/>
              </p:cNvSpPr>
              <p:nvPr/>
            </p:nvSpPr>
            <p:spPr>
              <a:xfrm>
                <a:off x="992827" y="6353324"/>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0" name="Textfeld 29">
                <a:extLst>
                  <a:ext uri="{FF2B5EF4-FFF2-40B4-BE49-F238E27FC236}">
                    <a16:creationId xmlns:a16="http://schemas.microsoft.com/office/drawing/2014/main" id="{4C882ACD-14E9-D68D-59AE-B0E00C8DFC87}"/>
                  </a:ext>
                </a:extLst>
              </p:cNvPr>
              <p:cNvSpPr txBox="1"/>
              <p:nvPr/>
            </p:nvSpPr>
            <p:spPr>
              <a:xfrm>
                <a:off x="997480" y="6362852"/>
                <a:ext cx="185001" cy="230832"/>
              </a:xfrm>
              <a:prstGeom prst="rect">
                <a:avLst/>
              </a:prstGeom>
              <a:noFill/>
            </p:spPr>
            <p:txBody>
              <a:bodyPr wrap="square" rtlCol="0">
                <a:spAutoFit/>
              </a:bodyPr>
              <a:lstStyle/>
              <a:p>
                <a:r>
                  <a:rPr lang="de-DE" sz="900">
                    <a:latin typeface="Sofia Sans" panose="020B0604020202020204" charset="0"/>
                  </a:rPr>
                  <a:t>7</a:t>
                </a:r>
                <a:endParaRPr lang="en-DE" sz="900">
                  <a:latin typeface="Sofia Sans" panose="020B0604020202020204" charset="0"/>
                </a:endParaRPr>
              </a:p>
            </p:txBody>
          </p:sp>
        </p:grpSp>
        <p:grpSp>
          <p:nvGrpSpPr>
            <p:cNvPr id="38" name="Gruppieren 37">
              <a:extLst>
                <a:ext uri="{FF2B5EF4-FFF2-40B4-BE49-F238E27FC236}">
                  <a16:creationId xmlns:a16="http://schemas.microsoft.com/office/drawing/2014/main" id="{2EB7ED49-D9A1-A3DE-B675-8FB75A98E5F5}"/>
                </a:ext>
              </a:extLst>
            </p:cNvPr>
            <p:cNvGrpSpPr/>
            <p:nvPr/>
          </p:nvGrpSpPr>
          <p:grpSpPr>
            <a:xfrm>
              <a:off x="1185085" y="4295926"/>
              <a:ext cx="250792" cy="246778"/>
              <a:chOff x="997480" y="6040022"/>
              <a:chExt cx="250792" cy="246778"/>
            </a:xfrm>
          </p:grpSpPr>
          <p:sp>
            <p:nvSpPr>
              <p:cNvPr id="31" name="Ellipse 30">
                <a:extLst>
                  <a:ext uri="{FF2B5EF4-FFF2-40B4-BE49-F238E27FC236}">
                    <a16:creationId xmlns:a16="http://schemas.microsoft.com/office/drawing/2014/main" id="{5A37E537-450A-1996-BCC7-6D61127D4E88}"/>
                  </a:ext>
                </a:extLst>
              </p:cNvPr>
              <p:cNvSpPr>
                <a:spLocks noChangeAspect="1"/>
              </p:cNvSpPr>
              <p:nvPr/>
            </p:nvSpPr>
            <p:spPr>
              <a:xfrm>
                <a:off x="997480" y="6040022"/>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2" name="Textfeld 31">
                <a:extLst>
                  <a:ext uri="{FF2B5EF4-FFF2-40B4-BE49-F238E27FC236}">
                    <a16:creationId xmlns:a16="http://schemas.microsoft.com/office/drawing/2014/main" id="{75D44663-B1AF-0069-E012-C57FDEF770B1}"/>
                  </a:ext>
                </a:extLst>
              </p:cNvPr>
              <p:cNvSpPr txBox="1"/>
              <p:nvPr/>
            </p:nvSpPr>
            <p:spPr>
              <a:xfrm>
                <a:off x="997480" y="6047995"/>
                <a:ext cx="185001" cy="230832"/>
              </a:xfrm>
              <a:prstGeom prst="rect">
                <a:avLst/>
              </a:prstGeom>
              <a:noFill/>
            </p:spPr>
            <p:txBody>
              <a:bodyPr wrap="square" rtlCol="0">
                <a:spAutoFit/>
              </a:bodyPr>
              <a:lstStyle/>
              <a:p>
                <a:r>
                  <a:rPr lang="de-DE" sz="900">
                    <a:latin typeface="Sofia Sans" panose="020B0604020202020204" charset="0"/>
                  </a:rPr>
                  <a:t>8</a:t>
                </a:r>
                <a:endParaRPr lang="en-DE" sz="900">
                  <a:latin typeface="Sofia Sans" panose="020B0604020202020204" charset="0"/>
                </a:endParaRPr>
              </a:p>
            </p:txBody>
          </p:sp>
        </p:grpSp>
        <p:sp>
          <p:nvSpPr>
            <p:cNvPr id="8" name="Geschweifte Klammer rechts 7">
              <a:extLst>
                <a:ext uri="{FF2B5EF4-FFF2-40B4-BE49-F238E27FC236}">
                  <a16:creationId xmlns:a16="http://schemas.microsoft.com/office/drawing/2014/main" id="{4C11FBAF-DA97-F8D1-7805-03EE4685D6D0}"/>
                </a:ext>
              </a:extLst>
            </p:cNvPr>
            <p:cNvSpPr/>
            <p:nvPr/>
          </p:nvSpPr>
          <p:spPr>
            <a:xfrm>
              <a:off x="1492867" y="3530762"/>
              <a:ext cx="250792" cy="9980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grpSp>
        <p:nvGrpSpPr>
          <p:cNvPr id="5" name="Gruppieren 4">
            <a:extLst>
              <a:ext uri="{FF2B5EF4-FFF2-40B4-BE49-F238E27FC236}">
                <a16:creationId xmlns:a16="http://schemas.microsoft.com/office/drawing/2014/main" id="{0C3367D7-CAB2-869F-E47D-B03224EA0E1A}"/>
              </a:ext>
            </a:extLst>
          </p:cNvPr>
          <p:cNvGrpSpPr/>
          <p:nvPr/>
        </p:nvGrpSpPr>
        <p:grpSpPr>
          <a:xfrm>
            <a:off x="1207307" y="5918871"/>
            <a:ext cx="580534" cy="506080"/>
            <a:chOff x="1164825" y="5222517"/>
            <a:chExt cx="580534" cy="506080"/>
          </a:xfrm>
        </p:grpSpPr>
        <p:grpSp>
          <p:nvGrpSpPr>
            <p:cNvPr id="35" name="Gruppieren 34">
              <a:extLst>
                <a:ext uri="{FF2B5EF4-FFF2-40B4-BE49-F238E27FC236}">
                  <a16:creationId xmlns:a16="http://schemas.microsoft.com/office/drawing/2014/main" id="{EA09F5A8-D264-511A-C7DA-E69ED682B649}"/>
                </a:ext>
              </a:extLst>
            </p:cNvPr>
            <p:cNvGrpSpPr/>
            <p:nvPr/>
          </p:nvGrpSpPr>
          <p:grpSpPr>
            <a:xfrm>
              <a:off x="1164825" y="5481819"/>
              <a:ext cx="329950" cy="246778"/>
              <a:chOff x="1379788" y="5914447"/>
              <a:chExt cx="329950" cy="246778"/>
            </a:xfrm>
          </p:grpSpPr>
          <p:sp>
            <p:nvSpPr>
              <p:cNvPr id="11" name="Ellipse 10">
                <a:extLst>
                  <a:ext uri="{FF2B5EF4-FFF2-40B4-BE49-F238E27FC236}">
                    <a16:creationId xmlns:a16="http://schemas.microsoft.com/office/drawing/2014/main" id="{E3E2C402-EBEA-F5A1-C1F3-47AA16ED51D9}"/>
                  </a:ext>
                </a:extLst>
              </p:cNvPr>
              <p:cNvSpPr>
                <a:spLocks noChangeAspect="1"/>
              </p:cNvSpPr>
              <p:nvPr/>
            </p:nvSpPr>
            <p:spPr>
              <a:xfrm>
                <a:off x="1401219" y="591444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12" name="Textfeld 11">
                <a:extLst>
                  <a:ext uri="{FF2B5EF4-FFF2-40B4-BE49-F238E27FC236}">
                    <a16:creationId xmlns:a16="http://schemas.microsoft.com/office/drawing/2014/main" id="{4AD24707-FF5E-1672-8824-BC20C18AA7E5}"/>
                  </a:ext>
                </a:extLst>
              </p:cNvPr>
              <p:cNvSpPr txBox="1"/>
              <p:nvPr/>
            </p:nvSpPr>
            <p:spPr>
              <a:xfrm>
                <a:off x="1379788" y="5918809"/>
                <a:ext cx="329950" cy="230832"/>
              </a:xfrm>
              <a:prstGeom prst="rect">
                <a:avLst/>
              </a:prstGeom>
              <a:noFill/>
            </p:spPr>
            <p:txBody>
              <a:bodyPr wrap="square" rtlCol="0">
                <a:spAutoFit/>
              </a:bodyPr>
              <a:lstStyle/>
              <a:p>
                <a:r>
                  <a:rPr lang="de-DE" sz="900">
                    <a:latin typeface="Sofia Sans" panose="020B0604020202020204" charset="0"/>
                  </a:rPr>
                  <a:t>10</a:t>
                </a:r>
                <a:endParaRPr lang="en-DE" sz="900">
                  <a:latin typeface="Sofia Sans" panose="020B0604020202020204" charset="0"/>
                </a:endParaRPr>
              </a:p>
            </p:txBody>
          </p:sp>
        </p:grpSp>
        <p:grpSp>
          <p:nvGrpSpPr>
            <p:cNvPr id="37" name="Gruppieren 36">
              <a:extLst>
                <a:ext uri="{FF2B5EF4-FFF2-40B4-BE49-F238E27FC236}">
                  <a16:creationId xmlns:a16="http://schemas.microsoft.com/office/drawing/2014/main" id="{99105607-325D-B036-C5D3-05966DB70157}"/>
                </a:ext>
              </a:extLst>
            </p:cNvPr>
            <p:cNvGrpSpPr/>
            <p:nvPr/>
          </p:nvGrpSpPr>
          <p:grpSpPr>
            <a:xfrm>
              <a:off x="1186816" y="5222517"/>
              <a:ext cx="250792" cy="246778"/>
              <a:chOff x="1932200" y="5503417"/>
              <a:chExt cx="250792" cy="246778"/>
            </a:xfrm>
          </p:grpSpPr>
          <p:sp>
            <p:nvSpPr>
              <p:cNvPr id="33" name="Ellipse 32">
                <a:extLst>
                  <a:ext uri="{FF2B5EF4-FFF2-40B4-BE49-F238E27FC236}">
                    <a16:creationId xmlns:a16="http://schemas.microsoft.com/office/drawing/2014/main" id="{A53619EA-D764-7707-E1D6-36B5170A3262}"/>
                  </a:ext>
                </a:extLst>
              </p:cNvPr>
              <p:cNvSpPr>
                <a:spLocks noChangeAspect="1"/>
              </p:cNvSpPr>
              <p:nvPr/>
            </p:nvSpPr>
            <p:spPr>
              <a:xfrm>
                <a:off x="1932200" y="5503417"/>
                <a:ext cx="250792" cy="246778"/>
              </a:xfrm>
              <a:prstGeom prst="ellipse">
                <a:avLst/>
              </a:prstGeom>
              <a:solidFill>
                <a:srgbClr val="FF0000"/>
              </a:solidFill>
              <a:ln w="63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FF"/>
                    </a:solidFill>
                  </a:ln>
                </a:endParaRPr>
              </a:p>
            </p:txBody>
          </p:sp>
          <p:sp>
            <p:nvSpPr>
              <p:cNvPr id="34" name="Textfeld 33">
                <a:extLst>
                  <a:ext uri="{FF2B5EF4-FFF2-40B4-BE49-F238E27FC236}">
                    <a16:creationId xmlns:a16="http://schemas.microsoft.com/office/drawing/2014/main" id="{88E4BC9C-9BDF-323D-5EB8-1FC59F0D384F}"/>
                  </a:ext>
                </a:extLst>
              </p:cNvPr>
              <p:cNvSpPr txBox="1"/>
              <p:nvPr/>
            </p:nvSpPr>
            <p:spPr>
              <a:xfrm>
                <a:off x="1939651" y="5511390"/>
                <a:ext cx="185001" cy="230832"/>
              </a:xfrm>
              <a:prstGeom prst="rect">
                <a:avLst/>
              </a:prstGeom>
              <a:noFill/>
            </p:spPr>
            <p:txBody>
              <a:bodyPr wrap="square" rtlCol="0">
                <a:spAutoFit/>
              </a:bodyPr>
              <a:lstStyle/>
              <a:p>
                <a:r>
                  <a:rPr lang="de-DE" sz="900">
                    <a:latin typeface="Sofia Sans" panose="020B0604020202020204" charset="0"/>
                  </a:rPr>
                  <a:t>9</a:t>
                </a:r>
                <a:endParaRPr lang="en-DE" sz="900">
                  <a:latin typeface="Sofia Sans" panose="020B0604020202020204" charset="0"/>
                </a:endParaRPr>
              </a:p>
            </p:txBody>
          </p:sp>
        </p:grpSp>
        <p:sp>
          <p:nvSpPr>
            <p:cNvPr id="9" name="Geschweifte Klammer rechts 8">
              <a:extLst>
                <a:ext uri="{FF2B5EF4-FFF2-40B4-BE49-F238E27FC236}">
                  <a16:creationId xmlns:a16="http://schemas.microsoft.com/office/drawing/2014/main" id="{1C369F2F-37D0-CC7D-D51D-80F0F97B4FAF}"/>
                </a:ext>
              </a:extLst>
            </p:cNvPr>
            <p:cNvSpPr/>
            <p:nvPr/>
          </p:nvSpPr>
          <p:spPr>
            <a:xfrm>
              <a:off x="1494567" y="5230490"/>
              <a:ext cx="250792" cy="48652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spTree>
    <p:extLst>
      <p:ext uri="{BB962C8B-B14F-4D97-AF65-F5344CB8AC3E}">
        <p14:creationId xmlns:p14="http://schemas.microsoft.com/office/powerpoint/2010/main" val="27990371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CED4D-CCE3-0F11-4517-F8339E2BA730}"/>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9781F81E-8BA7-288D-E732-B460CE5AD523}"/>
              </a:ext>
            </a:extLst>
          </p:cNvPr>
          <p:cNvSpPr>
            <a:spLocks noGrp="1"/>
          </p:cNvSpPr>
          <p:nvPr>
            <p:ph type="sldNum" sz="quarter" idx="16"/>
          </p:nvPr>
        </p:nvSpPr>
        <p:spPr/>
        <p:txBody>
          <a:bodyPr/>
          <a:lstStyle/>
          <a:p>
            <a:fld id="{DF7F771E-9578-4C04-B869-01AF4C35C90C}" type="slidenum">
              <a:rPr lang="de-DE" smtClean="0"/>
              <a:t>14</a:t>
            </a:fld>
            <a:endParaRPr lang="de-DE"/>
          </a:p>
        </p:txBody>
      </p:sp>
      <p:sp>
        <p:nvSpPr>
          <p:cNvPr id="13" name="Untertitel 2">
            <a:extLst>
              <a:ext uri="{FF2B5EF4-FFF2-40B4-BE49-F238E27FC236}">
                <a16:creationId xmlns:a16="http://schemas.microsoft.com/office/drawing/2014/main" id="{B2DB0A4D-CA89-8D14-BC94-7D42AD852076}"/>
              </a:ext>
            </a:extLst>
          </p:cNvPr>
          <p:cNvSpPr>
            <a:spLocks noGrp="1"/>
          </p:cNvSpPr>
          <p:nvPr>
            <p:ph type="subTitle" idx="1"/>
          </p:nvPr>
        </p:nvSpPr>
        <p:spPr>
          <a:xfrm>
            <a:off x="742102" y="2046816"/>
            <a:ext cx="5829300" cy="6361870"/>
          </a:xfrm>
        </p:spPr>
        <p:txBody>
          <a:bodyPr/>
          <a:lstStyle/>
          <a:p>
            <a:pPr marL="139700" indent="0">
              <a:lnSpc>
                <a:spcPct val="150000"/>
              </a:lnSpc>
            </a:pPr>
            <a:r>
              <a:rPr lang="en-US" sz="1200" b="1" dirty="0"/>
              <a:t>Hydro Energy and Energy Conversion</a:t>
            </a:r>
            <a:endParaRPr lang="en-US" sz="1200" dirty="0"/>
          </a:p>
          <a:p>
            <a:pPr>
              <a:lnSpc>
                <a:spcPct val="150000"/>
              </a:lnSpc>
              <a:buClr>
                <a:schemeClr val="accent5"/>
              </a:buClr>
              <a:buSzPct val="121000"/>
              <a:buFont typeface="Arial" panose="020B0604020202020204" pitchFamily="34" charset="0"/>
              <a:buChar char="•"/>
            </a:pPr>
            <a:r>
              <a:rPr lang="en-US" sz="1200" dirty="0"/>
              <a:t>In __________ regions water can flow very fast, creating more energy.</a:t>
            </a:r>
          </a:p>
          <a:p>
            <a:pPr>
              <a:lnSpc>
                <a:spcPct val="150000"/>
              </a:lnSpc>
              <a:buClr>
                <a:schemeClr val="accent5"/>
              </a:buClr>
              <a:buSzPct val="121000"/>
              <a:buFont typeface="Arial" panose="020B0604020202020204" pitchFamily="34" charset="0"/>
              <a:buChar char="•"/>
            </a:pPr>
            <a:r>
              <a:rPr lang="en-US" sz="1200" dirty="0"/>
              <a:t>Water stored behind a dam has __________ energy because of its height.</a:t>
            </a:r>
          </a:p>
          <a:p>
            <a:pPr>
              <a:lnSpc>
                <a:spcPct val="150000"/>
              </a:lnSpc>
              <a:buClr>
                <a:schemeClr val="accent5"/>
              </a:buClr>
              <a:buSzPct val="121000"/>
              <a:buFont typeface="Arial" panose="020B0604020202020204" pitchFamily="34" charset="0"/>
              <a:buChar char="•"/>
            </a:pPr>
            <a:r>
              <a:rPr lang="en-US" sz="1200" dirty="0"/>
              <a:t>When water flows downhill due to __________, it gains __________ energy.</a:t>
            </a:r>
          </a:p>
          <a:p>
            <a:pPr>
              <a:lnSpc>
                <a:spcPct val="150000"/>
              </a:lnSpc>
              <a:buClr>
                <a:schemeClr val="accent5"/>
              </a:buClr>
              <a:buSzPct val="121000"/>
              <a:buFont typeface="Arial" panose="020B0604020202020204" pitchFamily="34" charset="0"/>
              <a:buChar char="•"/>
            </a:pPr>
            <a:r>
              <a:rPr lang="en-US" sz="1200" dirty="0"/>
              <a:t>The moving water spins __________, which are connected to a __________ to create electricity.</a:t>
            </a:r>
          </a:p>
          <a:p>
            <a:pPr>
              <a:lnSpc>
                <a:spcPct val="150000"/>
              </a:lnSpc>
              <a:buClr>
                <a:schemeClr val="accent5"/>
              </a:buClr>
              <a:buSzPct val="121000"/>
              <a:buFont typeface="Arial" panose="020B0604020202020204" pitchFamily="34" charset="0"/>
              <a:buChar char="•"/>
            </a:pPr>
            <a:r>
              <a:rPr lang="en-US" sz="1200" dirty="0"/>
              <a:t>The word "hydro" comes from the Greek word for __________.</a:t>
            </a:r>
          </a:p>
          <a:p>
            <a:pPr>
              <a:lnSpc>
                <a:spcPct val="150000"/>
              </a:lnSpc>
              <a:buClr>
                <a:schemeClr val="accent5"/>
              </a:buClr>
              <a:buSzPct val="121000"/>
              <a:buFont typeface="Arial" panose="020B0604020202020204" pitchFamily="34" charset="0"/>
              <a:buChar char="•"/>
            </a:pPr>
            <a:r>
              <a:rPr lang="en-US" sz="1200" dirty="0"/>
              <a:t>Hydro energy is a __________ energy source. It uses the movement of water to perform __________.</a:t>
            </a:r>
          </a:p>
          <a:p>
            <a:pPr>
              <a:lnSpc>
                <a:spcPct val="150000"/>
              </a:lnSpc>
              <a:buClr>
                <a:schemeClr val="accent5"/>
              </a:buClr>
              <a:buSzPct val="121000"/>
              <a:buFont typeface="Arial" panose="020B0604020202020204" pitchFamily="34" charset="0"/>
              <a:buChar char="•"/>
            </a:pPr>
            <a:r>
              <a:rPr lang="en-US" sz="1200" dirty="0"/>
              <a:t>__________ also inhabit hydro energy, which can be harnessed with innovative concepts.</a:t>
            </a:r>
          </a:p>
          <a:p>
            <a:pPr>
              <a:lnSpc>
                <a:spcPct val="150000"/>
              </a:lnSpc>
              <a:buClr>
                <a:schemeClr val="accent5"/>
              </a:buClr>
              <a:buSzPct val="121000"/>
              <a:buFont typeface="Arial" panose="020B0604020202020204" pitchFamily="34" charset="0"/>
              <a:buChar char="•"/>
            </a:pPr>
            <a:r>
              <a:rPr lang="en-US" sz="1200" dirty="0"/>
              <a:t>__________ are large structures built to block and control the flow of water, aiding in hydroelectric energy production.</a:t>
            </a:r>
          </a:p>
          <a:p>
            <a:pPr marL="139700" indent="0">
              <a:lnSpc>
                <a:spcPct val="150000"/>
              </a:lnSpc>
            </a:pPr>
            <a:endParaRPr lang="en-US" sz="1200" dirty="0"/>
          </a:p>
          <a:p>
            <a:pPr>
              <a:lnSpc>
                <a:spcPct val="150000"/>
              </a:lnSpc>
            </a:pPr>
            <a:r>
              <a:rPr lang="en-US" sz="1200" b="1" dirty="0"/>
              <a:t>The Water Cycle</a:t>
            </a:r>
          </a:p>
          <a:p>
            <a:pPr>
              <a:lnSpc>
                <a:spcPct val="150000"/>
              </a:lnSpc>
            </a:pPr>
            <a:r>
              <a:rPr lang="en-US" sz="1200" dirty="0"/>
              <a:t>Fill in the blanks with the correct words from the word bank:</a:t>
            </a:r>
          </a:p>
          <a:p>
            <a:pPr marL="144000" indent="0">
              <a:lnSpc>
                <a:spcPct val="150000"/>
              </a:lnSpc>
            </a:pPr>
            <a:r>
              <a:rPr lang="en-US" sz="1200" dirty="0">
                <a:solidFill>
                  <a:srgbClr val="000000"/>
                </a:solidFill>
              </a:rPr>
              <a:t>The __________ moves water around the Earth and atmosphere in different stages. First, water turns into vapor through __________ when the heat from the __________ warms it. Next, the vapor cools and turns into tiny droplets in the process called __________. These droplets come together to form clouds. Then, water falls back to the Earth as rain, snow, or hail, a process known as __________. Finally, the water collects in rivers, lakes, and oceans, completing the cycle.</a:t>
            </a:r>
          </a:p>
        </p:txBody>
      </p:sp>
      <p:sp>
        <p:nvSpPr>
          <p:cNvPr id="4" name="Untertitel 5">
            <a:extLst>
              <a:ext uri="{FF2B5EF4-FFF2-40B4-BE49-F238E27FC236}">
                <a16:creationId xmlns:a16="http://schemas.microsoft.com/office/drawing/2014/main" id="{EA6E9701-ADC2-323C-3F41-4EB908A81CE4}"/>
              </a:ext>
            </a:extLst>
          </p:cNvPr>
          <p:cNvSpPr txBox="1">
            <a:spLocks/>
          </p:cNvSpPr>
          <p:nvPr/>
        </p:nvSpPr>
        <p:spPr>
          <a:xfrm>
            <a:off x="719138" y="12852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17" name="Untertitel 5">
            <a:extLst>
              <a:ext uri="{FF2B5EF4-FFF2-40B4-BE49-F238E27FC236}">
                <a16:creationId xmlns:a16="http://schemas.microsoft.com/office/drawing/2014/main" id="{6AE316D7-719D-86CD-0AE8-C510EE4774EA}"/>
              </a:ext>
            </a:extLst>
          </p:cNvPr>
          <p:cNvSpPr txBox="1">
            <a:spLocks/>
          </p:cNvSpPr>
          <p:nvPr/>
        </p:nvSpPr>
        <p:spPr>
          <a:xfrm>
            <a:off x="719138" y="162817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b="0">
                <a:solidFill>
                  <a:schemeClr val="tx1"/>
                </a:solidFill>
              </a:rPr>
              <a:t>Fill in </a:t>
            </a:r>
            <a:r>
              <a:rPr lang="de-DE" sz="1200" b="0" err="1">
                <a:solidFill>
                  <a:schemeClr val="tx1"/>
                </a:solidFill>
              </a:rPr>
              <a:t>the</a:t>
            </a:r>
            <a:r>
              <a:rPr lang="de-DE" sz="1200" b="0">
                <a:solidFill>
                  <a:schemeClr val="tx1"/>
                </a:solidFill>
              </a:rPr>
              <a:t> </a:t>
            </a:r>
            <a:r>
              <a:rPr lang="de-DE" sz="1200" b="0" err="1">
                <a:solidFill>
                  <a:schemeClr val="tx1"/>
                </a:solidFill>
              </a:rPr>
              <a:t>blanks</a:t>
            </a:r>
            <a:r>
              <a:rPr lang="de-DE" sz="1200" b="0">
                <a:solidFill>
                  <a:schemeClr val="tx1"/>
                </a:solidFill>
              </a:rPr>
              <a:t> </a:t>
            </a:r>
            <a:r>
              <a:rPr lang="de-DE" sz="1200" b="0" err="1">
                <a:solidFill>
                  <a:schemeClr val="tx1"/>
                </a:solidFill>
              </a:rPr>
              <a:t>with</a:t>
            </a:r>
            <a:r>
              <a:rPr lang="de-DE" sz="1200" b="0">
                <a:solidFill>
                  <a:schemeClr val="tx1"/>
                </a:solidFill>
              </a:rPr>
              <a:t> </a:t>
            </a:r>
            <a:r>
              <a:rPr lang="de-DE" sz="1200" b="0" err="1">
                <a:solidFill>
                  <a:schemeClr val="tx1"/>
                </a:solidFill>
              </a:rPr>
              <a:t>the</a:t>
            </a:r>
            <a:r>
              <a:rPr lang="de-DE" sz="1200" b="0">
                <a:solidFill>
                  <a:schemeClr val="tx1"/>
                </a:solidFill>
              </a:rPr>
              <a:t> </a:t>
            </a:r>
            <a:r>
              <a:rPr lang="de-DE" sz="1200" b="0" err="1">
                <a:solidFill>
                  <a:schemeClr val="tx1"/>
                </a:solidFill>
              </a:rPr>
              <a:t>help</a:t>
            </a:r>
            <a:r>
              <a:rPr lang="de-DE" sz="1200" b="0">
                <a:solidFill>
                  <a:schemeClr val="tx1"/>
                </a:solidFill>
              </a:rPr>
              <a:t> </a:t>
            </a:r>
            <a:r>
              <a:rPr lang="de-DE" sz="1200" b="0" err="1">
                <a:solidFill>
                  <a:schemeClr val="tx1"/>
                </a:solidFill>
              </a:rPr>
              <a:t>of</a:t>
            </a:r>
            <a:r>
              <a:rPr lang="de-DE" sz="1200" b="0">
                <a:solidFill>
                  <a:schemeClr val="tx1"/>
                </a:solidFill>
              </a:rPr>
              <a:t> </a:t>
            </a:r>
            <a:r>
              <a:rPr lang="de-DE" sz="1200" b="0" err="1">
                <a:solidFill>
                  <a:schemeClr val="tx1"/>
                </a:solidFill>
              </a:rPr>
              <a:t>the</a:t>
            </a:r>
            <a:r>
              <a:rPr lang="de-DE" sz="1200" b="0">
                <a:solidFill>
                  <a:schemeClr val="tx1"/>
                </a:solidFill>
              </a:rPr>
              <a:t> </a:t>
            </a:r>
            <a:r>
              <a:rPr lang="de-DE" sz="1200" b="0" err="1">
                <a:solidFill>
                  <a:schemeClr val="tx1"/>
                </a:solidFill>
              </a:rPr>
              <a:t>word</a:t>
            </a:r>
            <a:r>
              <a:rPr lang="de-DE" sz="1200" b="0">
                <a:solidFill>
                  <a:schemeClr val="tx1"/>
                </a:solidFill>
              </a:rPr>
              <a:t> </a:t>
            </a:r>
            <a:r>
              <a:rPr lang="de-DE" sz="1200" b="0" err="1">
                <a:solidFill>
                  <a:schemeClr val="tx1"/>
                </a:solidFill>
              </a:rPr>
              <a:t>bank</a:t>
            </a:r>
            <a:r>
              <a:rPr lang="de-DE" sz="1200" b="0">
                <a:solidFill>
                  <a:schemeClr val="tx1"/>
                </a:solidFill>
              </a:rPr>
              <a:t> </a:t>
            </a:r>
            <a:r>
              <a:rPr lang="de-DE" sz="1200" b="0" err="1">
                <a:solidFill>
                  <a:schemeClr val="tx1"/>
                </a:solidFill>
              </a:rPr>
              <a:t>below</a:t>
            </a:r>
            <a:r>
              <a:rPr lang="de-DE" sz="1200" b="0">
                <a:solidFill>
                  <a:schemeClr val="tx1"/>
                </a:solidFill>
              </a:rPr>
              <a:t>!</a:t>
            </a:r>
          </a:p>
        </p:txBody>
      </p:sp>
      <p:grpSp>
        <p:nvGrpSpPr>
          <p:cNvPr id="44" name="Gruppieren 43">
            <a:extLst>
              <a:ext uri="{FF2B5EF4-FFF2-40B4-BE49-F238E27FC236}">
                <a16:creationId xmlns:a16="http://schemas.microsoft.com/office/drawing/2014/main" id="{67446D62-14A9-11DE-65DD-98D6C5FFD22E}"/>
              </a:ext>
            </a:extLst>
          </p:cNvPr>
          <p:cNvGrpSpPr/>
          <p:nvPr/>
        </p:nvGrpSpPr>
        <p:grpSpPr>
          <a:xfrm>
            <a:off x="1258259" y="2738186"/>
            <a:ext cx="5109577" cy="5142386"/>
            <a:chOff x="1302963" y="2958601"/>
            <a:chExt cx="5109577" cy="5142386"/>
          </a:xfrm>
        </p:grpSpPr>
        <p:sp>
          <p:nvSpPr>
            <p:cNvPr id="31" name="Textfeld 30">
              <a:extLst>
                <a:ext uri="{FF2B5EF4-FFF2-40B4-BE49-F238E27FC236}">
                  <a16:creationId xmlns:a16="http://schemas.microsoft.com/office/drawing/2014/main" id="{9DBAC2C8-F0FB-3992-A65E-A799324FE705}"/>
                </a:ext>
              </a:extLst>
            </p:cNvPr>
            <p:cNvSpPr txBox="1"/>
            <p:nvPr/>
          </p:nvSpPr>
          <p:spPr>
            <a:xfrm>
              <a:off x="3436549" y="2958601"/>
              <a:ext cx="731679" cy="246221"/>
            </a:xfrm>
            <a:prstGeom prst="rect">
              <a:avLst/>
            </a:prstGeom>
            <a:noFill/>
          </p:spPr>
          <p:txBody>
            <a:bodyPr wrap="square" rtlCol="0">
              <a:spAutoFit/>
            </a:bodyPr>
            <a:lstStyle/>
            <a:p>
              <a:r>
                <a:rPr lang="de-DE" sz="1000" b="1">
                  <a:solidFill>
                    <a:srgbClr val="FF0000"/>
                  </a:solidFill>
                  <a:latin typeface="Sofia Sans" panose="020B0604020202020204" charset="0"/>
                </a:rPr>
                <a:t>potential</a:t>
              </a:r>
              <a:endParaRPr lang="en-DE" sz="800" b="1">
                <a:solidFill>
                  <a:srgbClr val="FF0000"/>
                </a:solidFill>
                <a:latin typeface="Sofia Sans" panose="020B0604020202020204" charset="0"/>
              </a:endParaRPr>
            </a:p>
          </p:txBody>
        </p:sp>
        <p:sp>
          <p:nvSpPr>
            <p:cNvPr id="32" name="Textfeld 31">
              <a:extLst>
                <a:ext uri="{FF2B5EF4-FFF2-40B4-BE49-F238E27FC236}">
                  <a16:creationId xmlns:a16="http://schemas.microsoft.com/office/drawing/2014/main" id="{9D0645B3-AED5-8EC1-E413-C2ED3ABB1D1A}"/>
                </a:ext>
              </a:extLst>
            </p:cNvPr>
            <p:cNvSpPr txBox="1"/>
            <p:nvPr/>
          </p:nvSpPr>
          <p:spPr>
            <a:xfrm>
              <a:off x="3708977" y="3196314"/>
              <a:ext cx="731679" cy="246221"/>
            </a:xfrm>
            <a:prstGeom prst="rect">
              <a:avLst/>
            </a:prstGeom>
            <a:noFill/>
          </p:spPr>
          <p:txBody>
            <a:bodyPr wrap="square" rtlCol="0">
              <a:spAutoFit/>
            </a:bodyPr>
            <a:lstStyle/>
            <a:p>
              <a:r>
                <a:rPr lang="de-DE" sz="1000" b="1" err="1">
                  <a:solidFill>
                    <a:srgbClr val="FF0000"/>
                  </a:solidFill>
                  <a:latin typeface="Sofia Sans" panose="020B0604020202020204" charset="0"/>
                </a:rPr>
                <a:t>gravity</a:t>
              </a:r>
              <a:endParaRPr lang="en-DE" sz="800" b="1">
                <a:solidFill>
                  <a:srgbClr val="FF0000"/>
                </a:solidFill>
                <a:latin typeface="Sofia Sans" panose="020B0604020202020204" charset="0"/>
              </a:endParaRPr>
            </a:p>
          </p:txBody>
        </p:sp>
        <p:sp>
          <p:nvSpPr>
            <p:cNvPr id="33" name="Textfeld 32">
              <a:extLst>
                <a:ext uri="{FF2B5EF4-FFF2-40B4-BE49-F238E27FC236}">
                  <a16:creationId xmlns:a16="http://schemas.microsoft.com/office/drawing/2014/main" id="{46164C70-98A5-FAE7-B8F0-AC94E048C508}"/>
                </a:ext>
              </a:extLst>
            </p:cNvPr>
            <p:cNvSpPr txBox="1"/>
            <p:nvPr/>
          </p:nvSpPr>
          <p:spPr>
            <a:xfrm>
              <a:off x="5016468" y="3208602"/>
              <a:ext cx="731679" cy="246221"/>
            </a:xfrm>
            <a:prstGeom prst="rect">
              <a:avLst/>
            </a:prstGeom>
            <a:noFill/>
          </p:spPr>
          <p:txBody>
            <a:bodyPr wrap="square" rtlCol="0">
              <a:spAutoFit/>
            </a:bodyPr>
            <a:lstStyle/>
            <a:p>
              <a:r>
                <a:rPr lang="de-DE" sz="1000" b="1" err="1">
                  <a:solidFill>
                    <a:srgbClr val="FF0000"/>
                  </a:solidFill>
                  <a:latin typeface="Sofia Sans" panose="020B0604020202020204" charset="0"/>
                </a:rPr>
                <a:t>kinetic</a:t>
              </a:r>
              <a:r>
                <a:rPr lang="de-DE" sz="1000" b="1">
                  <a:solidFill>
                    <a:srgbClr val="FF0000"/>
                  </a:solidFill>
                  <a:latin typeface="Sofia Sans" panose="020B0604020202020204" charset="0"/>
                </a:rPr>
                <a:t> </a:t>
              </a:r>
              <a:endParaRPr lang="en-DE" sz="800" b="1">
                <a:solidFill>
                  <a:srgbClr val="FF0000"/>
                </a:solidFill>
                <a:latin typeface="Sofia Sans" panose="020B0604020202020204" charset="0"/>
              </a:endParaRPr>
            </a:p>
          </p:txBody>
        </p:sp>
        <p:sp>
          <p:nvSpPr>
            <p:cNvPr id="34" name="Textfeld 33">
              <a:extLst>
                <a:ext uri="{FF2B5EF4-FFF2-40B4-BE49-F238E27FC236}">
                  <a16:creationId xmlns:a16="http://schemas.microsoft.com/office/drawing/2014/main" id="{3A246A5B-3971-BF7A-CDB2-75E1BC72FFCD}"/>
                </a:ext>
              </a:extLst>
            </p:cNvPr>
            <p:cNvSpPr txBox="1"/>
            <p:nvPr/>
          </p:nvSpPr>
          <p:spPr>
            <a:xfrm>
              <a:off x="3038132" y="3471794"/>
              <a:ext cx="731679" cy="246221"/>
            </a:xfrm>
            <a:prstGeom prst="rect">
              <a:avLst/>
            </a:prstGeom>
            <a:noFill/>
          </p:spPr>
          <p:txBody>
            <a:bodyPr wrap="square" rtlCol="0">
              <a:spAutoFit/>
            </a:bodyPr>
            <a:lstStyle/>
            <a:p>
              <a:r>
                <a:rPr lang="de-DE" sz="1000" b="1" err="1">
                  <a:solidFill>
                    <a:srgbClr val="FF0000"/>
                  </a:solidFill>
                  <a:latin typeface="Sofia Sans" panose="020B0604020202020204" charset="0"/>
                </a:rPr>
                <a:t>turbines</a:t>
              </a:r>
              <a:endParaRPr lang="en-DE" sz="1000" b="1">
                <a:solidFill>
                  <a:srgbClr val="FF0000"/>
                </a:solidFill>
                <a:latin typeface="Sofia Sans" panose="020B0604020202020204" charset="0"/>
              </a:endParaRPr>
            </a:p>
          </p:txBody>
        </p:sp>
        <p:sp>
          <p:nvSpPr>
            <p:cNvPr id="35" name="Textfeld 34">
              <a:extLst>
                <a:ext uri="{FF2B5EF4-FFF2-40B4-BE49-F238E27FC236}">
                  <a16:creationId xmlns:a16="http://schemas.microsoft.com/office/drawing/2014/main" id="{888262B7-EA4B-5A48-396A-819CF02AEDA9}"/>
                </a:ext>
              </a:extLst>
            </p:cNvPr>
            <p:cNvSpPr txBox="1"/>
            <p:nvPr/>
          </p:nvSpPr>
          <p:spPr>
            <a:xfrm>
              <a:off x="5481375" y="3471795"/>
              <a:ext cx="731679" cy="246221"/>
            </a:xfrm>
            <a:prstGeom prst="rect">
              <a:avLst/>
            </a:prstGeom>
            <a:noFill/>
          </p:spPr>
          <p:txBody>
            <a:bodyPr wrap="square" rtlCol="0">
              <a:spAutoFit/>
            </a:bodyPr>
            <a:lstStyle/>
            <a:p>
              <a:r>
                <a:rPr lang="de-DE" sz="1000" b="1" err="1">
                  <a:solidFill>
                    <a:srgbClr val="FF0000"/>
                  </a:solidFill>
                  <a:latin typeface="Sofia Sans" panose="020B0604020202020204" charset="0"/>
                </a:rPr>
                <a:t>generator</a:t>
              </a:r>
              <a:endParaRPr lang="en-DE" sz="1000" b="1">
                <a:solidFill>
                  <a:srgbClr val="FF0000"/>
                </a:solidFill>
                <a:latin typeface="Sofia Sans" panose="020B0604020202020204" charset="0"/>
              </a:endParaRPr>
            </a:p>
          </p:txBody>
        </p:sp>
        <p:sp>
          <p:nvSpPr>
            <p:cNvPr id="36" name="Textfeld 35">
              <a:extLst>
                <a:ext uri="{FF2B5EF4-FFF2-40B4-BE49-F238E27FC236}">
                  <a16:creationId xmlns:a16="http://schemas.microsoft.com/office/drawing/2014/main" id="{918E50A2-2DE1-618D-6824-8553FD96616F}"/>
                </a:ext>
              </a:extLst>
            </p:cNvPr>
            <p:cNvSpPr txBox="1"/>
            <p:nvPr/>
          </p:nvSpPr>
          <p:spPr>
            <a:xfrm>
              <a:off x="4576657" y="4024541"/>
              <a:ext cx="539944" cy="246221"/>
            </a:xfrm>
            <a:prstGeom prst="rect">
              <a:avLst/>
            </a:prstGeom>
            <a:noFill/>
          </p:spPr>
          <p:txBody>
            <a:bodyPr wrap="square" rtlCol="0">
              <a:spAutoFit/>
            </a:bodyPr>
            <a:lstStyle/>
            <a:p>
              <a:r>
                <a:rPr lang="de-DE" sz="1000" b="1" err="1">
                  <a:solidFill>
                    <a:srgbClr val="FF0000"/>
                  </a:solidFill>
                  <a:latin typeface="Sofia Sans" panose="020B0604020202020204" charset="0"/>
                </a:rPr>
                <a:t>water</a:t>
              </a:r>
              <a:endParaRPr lang="en-DE" sz="1000" b="1">
                <a:solidFill>
                  <a:srgbClr val="FF0000"/>
                </a:solidFill>
                <a:latin typeface="Sofia Sans" panose="020B0604020202020204" charset="0"/>
              </a:endParaRPr>
            </a:p>
          </p:txBody>
        </p:sp>
        <p:sp>
          <p:nvSpPr>
            <p:cNvPr id="37" name="Textfeld 36">
              <a:extLst>
                <a:ext uri="{FF2B5EF4-FFF2-40B4-BE49-F238E27FC236}">
                  <a16:creationId xmlns:a16="http://schemas.microsoft.com/office/drawing/2014/main" id="{46884FC5-E706-299C-8A48-9A60B5620EE9}"/>
                </a:ext>
              </a:extLst>
            </p:cNvPr>
            <p:cNvSpPr txBox="1"/>
            <p:nvPr/>
          </p:nvSpPr>
          <p:spPr>
            <a:xfrm>
              <a:off x="2507770" y="4293422"/>
              <a:ext cx="787512" cy="246221"/>
            </a:xfrm>
            <a:prstGeom prst="rect">
              <a:avLst/>
            </a:prstGeom>
            <a:noFill/>
          </p:spPr>
          <p:txBody>
            <a:bodyPr wrap="square" rtlCol="0">
              <a:spAutoFit/>
            </a:bodyPr>
            <a:lstStyle/>
            <a:p>
              <a:r>
                <a:rPr lang="de-DE" sz="1000" b="1" err="1">
                  <a:solidFill>
                    <a:srgbClr val="FF0000"/>
                  </a:solidFill>
                  <a:latin typeface="Sofia Sans" panose="020B0604020202020204" charset="0"/>
                </a:rPr>
                <a:t>renewable</a:t>
              </a:r>
              <a:endParaRPr lang="en-DE" sz="1000" b="1">
                <a:solidFill>
                  <a:srgbClr val="FF0000"/>
                </a:solidFill>
                <a:latin typeface="Sofia Sans" panose="020B0604020202020204" charset="0"/>
              </a:endParaRPr>
            </a:p>
          </p:txBody>
        </p:sp>
        <p:sp>
          <p:nvSpPr>
            <p:cNvPr id="38" name="Textfeld 37">
              <a:extLst>
                <a:ext uri="{FF2B5EF4-FFF2-40B4-BE49-F238E27FC236}">
                  <a16:creationId xmlns:a16="http://schemas.microsoft.com/office/drawing/2014/main" id="{9E3375FF-6EC6-D7C0-855A-673AE8879157}"/>
                </a:ext>
              </a:extLst>
            </p:cNvPr>
            <p:cNvSpPr txBox="1"/>
            <p:nvPr/>
          </p:nvSpPr>
          <p:spPr>
            <a:xfrm>
              <a:off x="1302963" y="7298598"/>
              <a:ext cx="787512" cy="246221"/>
            </a:xfrm>
            <a:prstGeom prst="rect">
              <a:avLst/>
            </a:prstGeom>
            <a:noFill/>
          </p:spPr>
          <p:txBody>
            <a:bodyPr wrap="square" rtlCol="0">
              <a:spAutoFit/>
            </a:bodyPr>
            <a:lstStyle/>
            <a:p>
              <a:r>
                <a:rPr lang="de-DE" sz="1000" b="1" err="1">
                  <a:solidFill>
                    <a:srgbClr val="FF0000"/>
                  </a:solidFill>
                  <a:latin typeface="Sofia Sans" panose="020B0604020202020204" charset="0"/>
                </a:rPr>
                <a:t>sun</a:t>
              </a:r>
              <a:endParaRPr lang="en-DE" sz="1000" b="1">
                <a:solidFill>
                  <a:srgbClr val="FF0000"/>
                </a:solidFill>
                <a:latin typeface="Sofia Sans" panose="020B0604020202020204" charset="0"/>
              </a:endParaRPr>
            </a:p>
          </p:txBody>
        </p:sp>
        <p:sp>
          <p:nvSpPr>
            <p:cNvPr id="39" name="Textfeld 38">
              <a:extLst>
                <a:ext uri="{FF2B5EF4-FFF2-40B4-BE49-F238E27FC236}">
                  <a16:creationId xmlns:a16="http://schemas.microsoft.com/office/drawing/2014/main" id="{9E695728-691D-55F7-882A-EA31F7B2DB93}"/>
                </a:ext>
              </a:extLst>
            </p:cNvPr>
            <p:cNvSpPr txBox="1"/>
            <p:nvPr/>
          </p:nvSpPr>
          <p:spPr>
            <a:xfrm>
              <a:off x="1302963" y="6756847"/>
              <a:ext cx="931165" cy="246221"/>
            </a:xfrm>
            <a:prstGeom prst="rect">
              <a:avLst/>
            </a:prstGeom>
            <a:noFill/>
          </p:spPr>
          <p:txBody>
            <a:bodyPr wrap="square" rtlCol="0">
              <a:spAutoFit/>
            </a:bodyPr>
            <a:lstStyle/>
            <a:p>
              <a:r>
                <a:rPr lang="de-DE" sz="1000" b="1" err="1">
                  <a:solidFill>
                    <a:srgbClr val="FF0000"/>
                  </a:solidFill>
                  <a:latin typeface="Sofia Sans" panose="020B0604020202020204" charset="0"/>
                </a:rPr>
                <a:t>water</a:t>
              </a:r>
              <a:r>
                <a:rPr lang="de-DE" sz="1000" b="1">
                  <a:solidFill>
                    <a:srgbClr val="FF0000"/>
                  </a:solidFill>
                  <a:latin typeface="Sofia Sans" panose="020B0604020202020204" charset="0"/>
                </a:rPr>
                <a:t> </a:t>
              </a:r>
              <a:r>
                <a:rPr lang="de-DE" sz="1000" b="1" err="1">
                  <a:solidFill>
                    <a:srgbClr val="FF0000"/>
                  </a:solidFill>
                  <a:latin typeface="Sofia Sans" panose="020B0604020202020204" charset="0"/>
                </a:rPr>
                <a:t>cycle</a:t>
              </a:r>
              <a:endParaRPr lang="en-DE" sz="1000" b="1">
                <a:solidFill>
                  <a:srgbClr val="FF0000"/>
                </a:solidFill>
                <a:latin typeface="Sofia Sans" panose="020B0604020202020204" charset="0"/>
              </a:endParaRPr>
            </a:p>
          </p:txBody>
        </p:sp>
        <p:sp>
          <p:nvSpPr>
            <p:cNvPr id="40" name="Textfeld 39">
              <a:extLst>
                <a:ext uri="{FF2B5EF4-FFF2-40B4-BE49-F238E27FC236}">
                  <a16:creationId xmlns:a16="http://schemas.microsoft.com/office/drawing/2014/main" id="{E1575646-2971-E95A-2E03-B24E8BF2B368}"/>
                </a:ext>
              </a:extLst>
            </p:cNvPr>
            <p:cNvSpPr txBox="1"/>
            <p:nvPr/>
          </p:nvSpPr>
          <p:spPr>
            <a:xfrm>
              <a:off x="2100292" y="4564323"/>
              <a:ext cx="787512" cy="246221"/>
            </a:xfrm>
            <a:prstGeom prst="rect">
              <a:avLst/>
            </a:prstGeom>
            <a:noFill/>
          </p:spPr>
          <p:txBody>
            <a:bodyPr wrap="square" rtlCol="0">
              <a:spAutoFit/>
            </a:bodyPr>
            <a:lstStyle/>
            <a:p>
              <a:r>
                <a:rPr lang="de-DE" sz="1000" b="1" err="1">
                  <a:solidFill>
                    <a:srgbClr val="FF0000"/>
                  </a:solidFill>
                  <a:latin typeface="Sofia Sans" panose="020B0604020202020204" charset="0"/>
                </a:rPr>
                <a:t>work</a:t>
              </a:r>
              <a:endParaRPr lang="en-DE" sz="1000" b="1">
                <a:solidFill>
                  <a:srgbClr val="FF0000"/>
                </a:solidFill>
                <a:latin typeface="Sofia Sans" panose="020B0604020202020204" charset="0"/>
              </a:endParaRPr>
            </a:p>
          </p:txBody>
        </p:sp>
        <p:sp>
          <p:nvSpPr>
            <p:cNvPr id="41" name="Textfeld 40">
              <a:extLst>
                <a:ext uri="{FF2B5EF4-FFF2-40B4-BE49-F238E27FC236}">
                  <a16:creationId xmlns:a16="http://schemas.microsoft.com/office/drawing/2014/main" id="{93F08862-4855-9443-17F7-AC36FAD6987E}"/>
                </a:ext>
              </a:extLst>
            </p:cNvPr>
            <p:cNvSpPr txBox="1"/>
            <p:nvPr/>
          </p:nvSpPr>
          <p:spPr>
            <a:xfrm>
              <a:off x="3493951" y="7003068"/>
              <a:ext cx="931165" cy="246221"/>
            </a:xfrm>
            <a:prstGeom prst="rect">
              <a:avLst/>
            </a:prstGeom>
            <a:noFill/>
          </p:spPr>
          <p:txBody>
            <a:bodyPr wrap="square" rtlCol="0">
              <a:spAutoFit/>
            </a:bodyPr>
            <a:lstStyle/>
            <a:p>
              <a:r>
                <a:rPr lang="de-DE" sz="1000" b="1" err="1">
                  <a:solidFill>
                    <a:srgbClr val="FF0000"/>
                  </a:solidFill>
                  <a:latin typeface="Sofia Sans" panose="020B0604020202020204" charset="0"/>
                </a:rPr>
                <a:t>evaporation</a:t>
              </a:r>
              <a:endParaRPr lang="en-DE" sz="1000" b="1">
                <a:solidFill>
                  <a:srgbClr val="FF0000"/>
                </a:solidFill>
                <a:latin typeface="Sofia Sans" panose="020B0604020202020204" charset="0"/>
              </a:endParaRPr>
            </a:p>
          </p:txBody>
        </p:sp>
        <p:sp>
          <p:nvSpPr>
            <p:cNvPr id="42" name="Textfeld 41">
              <a:extLst>
                <a:ext uri="{FF2B5EF4-FFF2-40B4-BE49-F238E27FC236}">
                  <a16:creationId xmlns:a16="http://schemas.microsoft.com/office/drawing/2014/main" id="{28658BF4-8642-80DC-66FE-B4BC6EBDC8C0}"/>
                </a:ext>
              </a:extLst>
            </p:cNvPr>
            <p:cNvSpPr txBox="1"/>
            <p:nvPr/>
          </p:nvSpPr>
          <p:spPr>
            <a:xfrm>
              <a:off x="1917680" y="7580547"/>
              <a:ext cx="1009066" cy="246221"/>
            </a:xfrm>
            <a:prstGeom prst="rect">
              <a:avLst/>
            </a:prstGeom>
            <a:noFill/>
          </p:spPr>
          <p:txBody>
            <a:bodyPr wrap="square" rtlCol="0">
              <a:spAutoFit/>
            </a:bodyPr>
            <a:lstStyle/>
            <a:p>
              <a:r>
                <a:rPr lang="de-DE" sz="1000" b="1" err="1">
                  <a:solidFill>
                    <a:srgbClr val="FF0000"/>
                  </a:solidFill>
                  <a:latin typeface="Sofia Sans" panose="020B0604020202020204" charset="0"/>
                </a:rPr>
                <a:t>condensation</a:t>
              </a:r>
              <a:endParaRPr lang="en-DE" sz="1000" b="1">
                <a:solidFill>
                  <a:srgbClr val="FF0000"/>
                </a:solidFill>
                <a:latin typeface="Sofia Sans" panose="020B0604020202020204" charset="0"/>
              </a:endParaRPr>
            </a:p>
          </p:txBody>
        </p:sp>
        <p:sp>
          <p:nvSpPr>
            <p:cNvPr id="43" name="Textfeld 42">
              <a:extLst>
                <a:ext uri="{FF2B5EF4-FFF2-40B4-BE49-F238E27FC236}">
                  <a16:creationId xmlns:a16="http://schemas.microsoft.com/office/drawing/2014/main" id="{589BB5AE-634C-1B48-2984-FE4AD2C16416}"/>
                </a:ext>
              </a:extLst>
            </p:cNvPr>
            <p:cNvSpPr txBox="1"/>
            <p:nvPr/>
          </p:nvSpPr>
          <p:spPr>
            <a:xfrm>
              <a:off x="5481375" y="7854766"/>
              <a:ext cx="931165" cy="246221"/>
            </a:xfrm>
            <a:prstGeom prst="rect">
              <a:avLst/>
            </a:prstGeom>
            <a:noFill/>
          </p:spPr>
          <p:txBody>
            <a:bodyPr wrap="square" rtlCol="0">
              <a:spAutoFit/>
            </a:bodyPr>
            <a:lstStyle/>
            <a:p>
              <a:r>
                <a:rPr lang="de-DE" sz="1000" b="1" err="1">
                  <a:solidFill>
                    <a:srgbClr val="FF0000"/>
                  </a:solidFill>
                  <a:latin typeface="Sofia Sans" panose="020B0604020202020204" charset="0"/>
                </a:rPr>
                <a:t>precipitation</a:t>
              </a:r>
              <a:endParaRPr lang="en-DE" sz="1000" b="1">
                <a:solidFill>
                  <a:srgbClr val="FF0000"/>
                </a:solidFill>
                <a:latin typeface="Sofia Sans" panose="020B0604020202020204" charset="0"/>
              </a:endParaRPr>
            </a:p>
          </p:txBody>
        </p:sp>
      </p:grpSp>
      <p:sp>
        <p:nvSpPr>
          <p:cNvPr id="45" name="Textfeld 44">
            <a:extLst>
              <a:ext uri="{FF2B5EF4-FFF2-40B4-BE49-F238E27FC236}">
                <a16:creationId xmlns:a16="http://schemas.microsoft.com/office/drawing/2014/main" id="{DAF52E1F-518C-2603-6263-B5FFD26C50C7}"/>
              </a:ext>
            </a:extLst>
          </p:cNvPr>
          <p:cNvSpPr txBox="1"/>
          <p:nvPr/>
        </p:nvSpPr>
        <p:spPr>
          <a:xfrm>
            <a:off x="1376550" y="2396166"/>
            <a:ext cx="931165" cy="246221"/>
          </a:xfrm>
          <a:prstGeom prst="rect">
            <a:avLst/>
          </a:prstGeom>
          <a:noFill/>
        </p:spPr>
        <p:txBody>
          <a:bodyPr wrap="square" rtlCol="0">
            <a:spAutoFit/>
          </a:bodyPr>
          <a:lstStyle/>
          <a:p>
            <a:r>
              <a:rPr lang="de-DE" sz="1000" b="1" err="1">
                <a:solidFill>
                  <a:srgbClr val="FF0000"/>
                </a:solidFill>
                <a:latin typeface="Sofia Sans" panose="020B0604020202020204" charset="0"/>
              </a:rPr>
              <a:t>mountainous</a:t>
            </a:r>
            <a:endParaRPr lang="en-DE" sz="800" b="1">
              <a:solidFill>
                <a:srgbClr val="FF0000"/>
              </a:solidFill>
              <a:latin typeface="Sofia Sans" panose="020B0604020202020204" charset="0"/>
            </a:endParaRPr>
          </a:p>
        </p:txBody>
      </p:sp>
      <p:sp>
        <p:nvSpPr>
          <p:cNvPr id="46" name="Textfeld 45">
            <a:extLst>
              <a:ext uri="{FF2B5EF4-FFF2-40B4-BE49-F238E27FC236}">
                <a16:creationId xmlns:a16="http://schemas.microsoft.com/office/drawing/2014/main" id="{B16F0644-E313-1ACE-FC7F-69EA5B4B0A96}"/>
              </a:ext>
            </a:extLst>
          </p:cNvPr>
          <p:cNvSpPr txBox="1"/>
          <p:nvPr/>
        </p:nvSpPr>
        <p:spPr>
          <a:xfrm>
            <a:off x="1401913" y="4586194"/>
            <a:ext cx="787512" cy="246221"/>
          </a:xfrm>
          <a:prstGeom prst="rect">
            <a:avLst/>
          </a:prstGeom>
          <a:noFill/>
        </p:spPr>
        <p:txBody>
          <a:bodyPr wrap="square" rtlCol="0">
            <a:spAutoFit/>
          </a:bodyPr>
          <a:lstStyle/>
          <a:p>
            <a:r>
              <a:rPr lang="de-DE" sz="1000" b="1">
                <a:solidFill>
                  <a:srgbClr val="FF0000"/>
                </a:solidFill>
                <a:latin typeface="Sofia Sans" panose="020B0604020202020204" charset="0"/>
              </a:rPr>
              <a:t>Oceans</a:t>
            </a:r>
            <a:endParaRPr lang="en-DE" sz="1000" b="1">
              <a:solidFill>
                <a:srgbClr val="FF0000"/>
              </a:solidFill>
              <a:latin typeface="Sofia Sans" panose="020B0604020202020204" charset="0"/>
            </a:endParaRPr>
          </a:p>
        </p:txBody>
      </p:sp>
      <p:sp>
        <p:nvSpPr>
          <p:cNvPr id="47" name="Textfeld 46">
            <a:extLst>
              <a:ext uri="{FF2B5EF4-FFF2-40B4-BE49-F238E27FC236}">
                <a16:creationId xmlns:a16="http://schemas.microsoft.com/office/drawing/2014/main" id="{C6EF6BD7-5209-6244-1F5A-E429FB1397B3}"/>
              </a:ext>
            </a:extLst>
          </p:cNvPr>
          <p:cNvSpPr txBox="1"/>
          <p:nvPr/>
        </p:nvSpPr>
        <p:spPr>
          <a:xfrm>
            <a:off x="1448376" y="5127945"/>
            <a:ext cx="787512" cy="246221"/>
          </a:xfrm>
          <a:prstGeom prst="rect">
            <a:avLst/>
          </a:prstGeom>
          <a:noFill/>
        </p:spPr>
        <p:txBody>
          <a:bodyPr wrap="square" rtlCol="0">
            <a:spAutoFit/>
          </a:bodyPr>
          <a:lstStyle/>
          <a:p>
            <a:r>
              <a:rPr lang="de-DE" sz="1000" b="1">
                <a:solidFill>
                  <a:srgbClr val="FF0000"/>
                </a:solidFill>
                <a:latin typeface="Sofia Sans" panose="020B0604020202020204" charset="0"/>
              </a:rPr>
              <a:t>Dams</a:t>
            </a:r>
            <a:endParaRPr lang="en-DE" sz="1000" b="1">
              <a:solidFill>
                <a:srgbClr val="FF0000"/>
              </a:solidFill>
              <a:latin typeface="Sofia Sans" panose="020B0604020202020204" charset="0"/>
            </a:endParaRPr>
          </a:p>
        </p:txBody>
      </p:sp>
      <p:sp>
        <p:nvSpPr>
          <p:cNvPr id="49" name="Textfeld 48">
            <a:extLst>
              <a:ext uri="{FF2B5EF4-FFF2-40B4-BE49-F238E27FC236}">
                <a16:creationId xmlns:a16="http://schemas.microsoft.com/office/drawing/2014/main" id="{17B84E34-D568-38FF-C836-7B22FFD6219C}"/>
              </a:ext>
            </a:extLst>
          </p:cNvPr>
          <p:cNvSpPr txBox="1"/>
          <p:nvPr/>
        </p:nvSpPr>
        <p:spPr>
          <a:xfrm>
            <a:off x="951114" y="8567525"/>
            <a:ext cx="5848350" cy="646331"/>
          </a:xfrm>
          <a:prstGeom prst="rect">
            <a:avLst/>
          </a:prstGeom>
          <a:noFill/>
        </p:spPr>
        <p:txBody>
          <a:bodyPr wrap="square" rtlCol="0">
            <a:spAutoFit/>
          </a:bodyPr>
          <a:lstStyle/>
          <a:p>
            <a:r>
              <a:rPr lang="de-DE" sz="1200" b="1">
                <a:latin typeface="Sofia Sans" panose="020B0604020202020204" charset="0"/>
              </a:rPr>
              <a:t>Word Bank:</a:t>
            </a:r>
          </a:p>
          <a:p>
            <a:r>
              <a:rPr lang="de-DE" sz="1200">
                <a:latin typeface="Sofia Sans" panose="020B0604020202020204" charset="0"/>
              </a:rPr>
              <a:t>potential, </a:t>
            </a:r>
            <a:r>
              <a:rPr lang="de-DE" sz="1200" err="1">
                <a:latin typeface="Sofia Sans" panose="020B0604020202020204" charset="0"/>
              </a:rPr>
              <a:t>gravity</a:t>
            </a:r>
            <a:r>
              <a:rPr lang="de-DE" sz="1200">
                <a:latin typeface="Sofia Sans" panose="020B0604020202020204" charset="0"/>
              </a:rPr>
              <a:t>, </a:t>
            </a:r>
            <a:r>
              <a:rPr lang="de-DE" sz="1200" err="1">
                <a:latin typeface="Sofia Sans" panose="020B0604020202020204" charset="0"/>
              </a:rPr>
              <a:t>turbines</a:t>
            </a:r>
            <a:r>
              <a:rPr lang="de-DE" sz="1200">
                <a:latin typeface="Sofia Sans" panose="020B0604020202020204" charset="0"/>
              </a:rPr>
              <a:t>, </a:t>
            </a:r>
            <a:r>
              <a:rPr lang="de-DE" sz="1200" err="1">
                <a:latin typeface="Sofia Sans" panose="020B0604020202020204" charset="0"/>
              </a:rPr>
              <a:t>evaporation</a:t>
            </a:r>
            <a:r>
              <a:rPr lang="de-DE" sz="1200">
                <a:latin typeface="Sofia Sans" panose="020B0604020202020204" charset="0"/>
              </a:rPr>
              <a:t>, </a:t>
            </a:r>
            <a:r>
              <a:rPr lang="de-DE" sz="1200" err="1">
                <a:latin typeface="Sofia Sans" panose="020B0604020202020204" charset="0"/>
              </a:rPr>
              <a:t>water</a:t>
            </a:r>
            <a:r>
              <a:rPr lang="de-DE" sz="1200">
                <a:latin typeface="Sofia Sans" panose="020B0604020202020204" charset="0"/>
              </a:rPr>
              <a:t>, </a:t>
            </a:r>
            <a:r>
              <a:rPr lang="de-DE" sz="1200" err="1">
                <a:latin typeface="Sofia Sans" panose="020B0604020202020204" charset="0"/>
              </a:rPr>
              <a:t>precipitation</a:t>
            </a:r>
            <a:r>
              <a:rPr lang="de-DE" sz="1200">
                <a:latin typeface="Sofia Sans" panose="020B0604020202020204" charset="0"/>
              </a:rPr>
              <a:t>, </a:t>
            </a:r>
            <a:r>
              <a:rPr lang="de-DE" sz="1200" err="1">
                <a:latin typeface="Sofia Sans" panose="020B0604020202020204" charset="0"/>
              </a:rPr>
              <a:t>generator</a:t>
            </a:r>
            <a:r>
              <a:rPr lang="de-DE" sz="1200">
                <a:latin typeface="Sofia Sans" panose="020B0604020202020204" charset="0"/>
              </a:rPr>
              <a:t>, </a:t>
            </a:r>
            <a:r>
              <a:rPr lang="de-DE" sz="1200" err="1">
                <a:latin typeface="Sofia Sans" panose="020B0604020202020204" charset="0"/>
              </a:rPr>
              <a:t>mountainous</a:t>
            </a:r>
            <a:r>
              <a:rPr lang="de-DE" sz="1200">
                <a:latin typeface="Sofia Sans" panose="020B0604020202020204" charset="0"/>
              </a:rPr>
              <a:t>, </a:t>
            </a:r>
            <a:r>
              <a:rPr lang="de-DE" sz="1200" err="1">
                <a:latin typeface="Sofia Sans" panose="020B0604020202020204" charset="0"/>
              </a:rPr>
              <a:t>dams</a:t>
            </a:r>
            <a:r>
              <a:rPr lang="de-DE" sz="1200">
                <a:latin typeface="Sofia Sans" panose="020B0604020202020204" charset="0"/>
              </a:rPr>
              <a:t>, </a:t>
            </a:r>
            <a:r>
              <a:rPr lang="de-DE" sz="1200" err="1">
                <a:latin typeface="Sofia Sans" panose="020B0604020202020204" charset="0"/>
              </a:rPr>
              <a:t>condensation</a:t>
            </a:r>
            <a:r>
              <a:rPr lang="de-DE" sz="1200">
                <a:latin typeface="Sofia Sans" panose="020B0604020202020204" charset="0"/>
              </a:rPr>
              <a:t>, </a:t>
            </a:r>
            <a:r>
              <a:rPr lang="de-DE" sz="1200" err="1">
                <a:latin typeface="Sofia Sans" panose="020B0604020202020204" charset="0"/>
              </a:rPr>
              <a:t>water</a:t>
            </a:r>
            <a:r>
              <a:rPr lang="de-DE" sz="1200">
                <a:latin typeface="Sofia Sans" panose="020B0604020202020204" charset="0"/>
              </a:rPr>
              <a:t> </a:t>
            </a:r>
            <a:r>
              <a:rPr lang="de-DE" sz="1200" err="1">
                <a:latin typeface="Sofia Sans" panose="020B0604020202020204" charset="0"/>
              </a:rPr>
              <a:t>cycle</a:t>
            </a:r>
            <a:r>
              <a:rPr lang="de-DE" sz="1200">
                <a:latin typeface="Sofia Sans" panose="020B0604020202020204" charset="0"/>
              </a:rPr>
              <a:t>, </a:t>
            </a:r>
            <a:r>
              <a:rPr lang="de-DE" sz="1200" err="1">
                <a:latin typeface="Sofia Sans" panose="020B0604020202020204" charset="0"/>
              </a:rPr>
              <a:t>renewable</a:t>
            </a:r>
            <a:r>
              <a:rPr lang="de-DE" sz="1200">
                <a:latin typeface="Sofia Sans" panose="020B0604020202020204" charset="0"/>
              </a:rPr>
              <a:t>, </a:t>
            </a:r>
            <a:r>
              <a:rPr lang="de-DE" sz="1200" err="1">
                <a:latin typeface="Sofia Sans" panose="020B0604020202020204" charset="0"/>
              </a:rPr>
              <a:t>work</a:t>
            </a:r>
            <a:r>
              <a:rPr lang="de-DE" sz="1200">
                <a:latin typeface="Sofia Sans" panose="020B0604020202020204" charset="0"/>
              </a:rPr>
              <a:t>, </a:t>
            </a:r>
            <a:r>
              <a:rPr lang="de-DE" sz="1200" err="1">
                <a:latin typeface="Sofia Sans" panose="020B0604020202020204" charset="0"/>
              </a:rPr>
              <a:t>oceans</a:t>
            </a:r>
            <a:r>
              <a:rPr lang="de-DE" sz="1200">
                <a:latin typeface="Sofia Sans" panose="020B0604020202020204" charset="0"/>
              </a:rPr>
              <a:t>, </a:t>
            </a:r>
            <a:r>
              <a:rPr lang="de-DE" sz="1200" err="1">
                <a:latin typeface="Sofia Sans" panose="020B0604020202020204" charset="0"/>
              </a:rPr>
              <a:t>kinetic</a:t>
            </a:r>
            <a:r>
              <a:rPr lang="de-DE" sz="1200">
                <a:latin typeface="Sofia Sans" panose="020B0604020202020204" charset="0"/>
              </a:rPr>
              <a:t>, </a:t>
            </a:r>
            <a:r>
              <a:rPr lang="de-DE" sz="1200" err="1">
                <a:latin typeface="Sofia Sans" panose="020B0604020202020204" charset="0"/>
              </a:rPr>
              <a:t>sun</a:t>
            </a:r>
            <a:endParaRPr lang="en-DE" sz="1200">
              <a:latin typeface="Sofia Sans" panose="020B0604020202020204" charset="0"/>
            </a:endParaRPr>
          </a:p>
        </p:txBody>
      </p:sp>
    </p:spTree>
    <p:extLst>
      <p:ext uri="{BB962C8B-B14F-4D97-AF65-F5344CB8AC3E}">
        <p14:creationId xmlns:p14="http://schemas.microsoft.com/office/powerpoint/2010/main" val="2561607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3F394-4086-EAA7-3ABE-17716D7E4F11}"/>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4553AED2-5A8D-710B-56E9-D982A72259AF}"/>
              </a:ext>
            </a:extLst>
          </p:cNvPr>
          <p:cNvSpPr/>
          <p:nvPr/>
        </p:nvSpPr>
        <p:spPr>
          <a:xfrm>
            <a:off x="719138" y="1596646"/>
            <a:ext cx="5740172" cy="6293320"/>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oliennummernplatzhalter 6">
            <a:extLst>
              <a:ext uri="{FF2B5EF4-FFF2-40B4-BE49-F238E27FC236}">
                <a16:creationId xmlns:a16="http://schemas.microsoft.com/office/drawing/2014/main" id="{DFA8EFE9-650D-303C-A871-DA10695AD843}"/>
              </a:ext>
            </a:extLst>
          </p:cNvPr>
          <p:cNvSpPr>
            <a:spLocks noGrp="1"/>
          </p:cNvSpPr>
          <p:nvPr>
            <p:ph type="sldNum" sz="quarter" idx="10"/>
          </p:nvPr>
        </p:nvSpPr>
        <p:spPr/>
        <p:txBody>
          <a:bodyPr/>
          <a:lstStyle/>
          <a:p>
            <a:fld id="{DF7F771E-9578-4C04-B869-01AF4C35C90C}" type="slidenum">
              <a:rPr lang="de-DE" smtClean="0"/>
              <a:t>15</a:t>
            </a:fld>
            <a:endParaRPr lang="de-DE"/>
          </a:p>
        </p:txBody>
      </p:sp>
      <p:sp>
        <p:nvSpPr>
          <p:cNvPr id="3" name="Ellipse 2">
            <a:extLst>
              <a:ext uri="{FF2B5EF4-FFF2-40B4-BE49-F238E27FC236}">
                <a16:creationId xmlns:a16="http://schemas.microsoft.com/office/drawing/2014/main" id="{764AA7EA-7B6F-85C6-1120-50064DB1AC1D}"/>
              </a:ext>
            </a:extLst>
          </p:cNvPr>
          <p:cNvSpPr>
            <a:spLocks noChangeAspect="1"/>
          </p:cNvSpPr>
          <p:nvPr/>
        </p:nvSpPr>
        <p:spPr>
          <a:xfrm>
            <a:off x="612897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descr="Lesezeichen mit einfarbiger Füllung">
            <a:extLst>
              <a:ext uri="{FF2B5EF4-FFF2-40B4-BE49-F238E27FC236}">
                <a16:creationId xmlns:a16="http://schemas.microsoft.com/office/drawing/2014/main" id="{6A2E98FB-79A7-37F7-1873-FFECB48E50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5" name="Untertitel 5">
            <a:extLst>
              <a:ext uri="{FF2B5EF4-FFF2-40B4-BE49-F238E27FC236}">
                <a16:creationId xmlns:a16="http://schemas.microsoft.com/office/drawing/2014/main" id="{4CCD8EA7-9867-B694-6AAB-205759D3E047}"/>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6" name="Untertitel 2">
            <a:extLst>
              <a:ext uri="{FF2B5EF4-FFF2-40B4-BE49-F238E27FC236}">
                <a16:creationId xmlns:a16="http://schemas.microsoft.com/office/drawing/2014/main" id="{6FEB6D63-9353-DE7B-BA13-135D6A898C93}"/>
              </a:ext>
            </a:extLst>
          </p:cNvPr>
          <p:cNvSpPr>
            <a:spLocks noGrp="1"/>
          </p:cNvSpPr>
          <p:nvPr>
            <p:ph type="subTitle" idx="1"/>
          </p:nvPr>
        </p:nvSpPr>
        <p:spPr>
          <a:xfrm>
            <a:off x="948234" y="1938083"/>
            <a:ext cx="5281980" cy="5310834"/>
          </a:xfrm>
        </p:spPr>
        <p:txBody>
          <a:bodyPr/>
          <a:lstStyle/>
          <a:p>
            <a:endParaRPr lang="en-US" sz="1200"/>
          </a:p>
          <a:p>
            <a:pPr marL="144000" indent="0">
              <a:lnSpc>
                <a:spcPct val="114999"/>
              </a:lnSpc>
            </a:pPr>
            <a:r>
              <a:rPr lang="en-US" sz="1200">
                <a:solidFill>
                  <a:srgbClr val="000000"/>
                </a:solidFill>
              </a:rPr>
              <a:t>Hydropower is a major source of electricity in Ghana, with significant untapped  potential for expansion. Hydro energy is both renewable and sustainable,  relying on the natural water cycle.</a:t>
            </a:r>
          </a:p>
          <a:p>
            <a:endParaRPr lang="en-US" sz="1200"/>
          </a:p>
          <a:p>
            <a:r>
              <a:rPr lang="en-US" sz="1200"/>
              <a:t>The water cycle, driven by solar energy, operates through four key stages:</a:t>
            </a:r>
          </a:p>
          <a:p>
            <a:pPr>
              <a:buClr>
                <a:schemeClr val="accent5"/>
              </a:buClr>
              <a:buSzPct val="121000"/>
              <a:buFont typeface="+mj-lt"/>
              <a:buAutoNum type="arabicPeriod"/>
            </a:pPr>
            <a:r>
              <a:rPr lang="en-US" sz="1200" b="1"/>
              <a:t>Evaporation</a:t>
            </a:r>
            <a:r>
              <a:rPr lang="en-US" sz="1200"/>
              <a:t>: Water from oceans, lakes, and rivers turns into vapor and rises into the atmosphere.</a:t>
            </a:r>
          </a:p>
          <a:p>
            <a:pPr>
              <a:buClr>
                <a:schemeClr val="accent5"/>
              </a:buClr>
              <a:buSzPct val="121000"/>
              <a:buFont typeface="+mj-lt"/>
              <a:buAutoNum type="arabicPeriod"/>
            </a:pPr>
            <a:r>
              <a:rPr lang="en-US" sz="1200" b="1"/>
              <a:t>Condensation</a:t>
            </a:r>
            <a:r>
              <a:rPr lang="en-US" sz="1200"/>
              <a:t>: The vapor cools and forms clouds.</a:t>
            </a:r>
          </a:p>
          <a:p>
            <a:pPr>
              <a:buClr>
                <a:schemeClr val="accent5"/>
              </a:buClr>
              <a:buSzPct val="121000"/>
              <a:buFont typeface="+mj-lt"/>
              <a:buAutoNum type="arabicPeriod"/>
            </a:pPr>
            <a:r>
              <a:rPr lang="en-US" sz="1200" b="1"/>
              <a:t>Precipitation</a:t>
            </a:r>
            <a:r>
              <a:rPr lang="en-US" sz="1200"/>
              <a:t>: Rain or snow falls, often in mountainous regions.</a:t>
            </a:r>
          </a:p>
          <a:p>
            <a:pPr>
              <a:buClr>
                <a:schemeClr val="accent5"/>
              </a:buClr>
              <a:buSzPct val="121000"/>
              <a:buFont typeface="+mj-lt"/>
              <a:buAutoNum type="arabicPeriod"/>
            </a:pPr>
            <a:r>
              <a:rPr lang="en-US" sz="1200" b="1"/>
              <a:t>Collection</a:t>
            </a:r>
            <a:r>
              <a:rPr lang="en-US" sz="1200"/>
              <a:t>: Water gathers on the ground and flows into rivers, completing the cycle.</a:t>
            </a:r>
          </a:p>
          <a:p>
            <a:pPr>
              <a:buFont typeface="+mj-lt"/>
              <a:buAutoNum type="arabicPeriod"/>
            </a:pPr>
            <a:endParaRPr lang="en-US" sz="1200"/>
          </a:p>
          <a:p>
            <a:pPr marL="144000" indent="0">
              <a:lnSpc>
                <a:spcPct val="114999"/>
              </a:lnSpc>
            </a:pPr>
            <a:r>
              <a:rPr lang="en-US" sz="1200">
                <a:solidFill>
                  <a:srgbClr val="000000"/>
                </a:solidFill>
              </a:rPr>
              <a:t>There are various locations where water energy can be harnessed effectively. Most important ones are:</a:t>
            </a:r>
          </a:p>
          <a:p>
            <a:endParaRPr lang="en-US" sz="1200"/>
          </a:p>
          <a:p>
            <a:pPr>
              <a:buClr>
                <a:schemeClr val="accent5"/>
              </a:buClr>
              <a:buSzPct val="121000"/>
              <a:buFont typeface="Arial" panose="020B0604020202020204" pitchFamily="34" charset="0"/>
              <a:buChar char="•"/>
            </a:pPr>
            <a:r>
              <a:rPr lang="en-US" sz="1200" b="1"/>
              <a:t>Rivers</a:t>
            </a:r>
            <a:r>
              <a:rPr lang="en-US" sz="1200"/>
              <a:t>: Providing a water stream, hence water motion.</a:t>
            </a:r>
          </a:p>
          <a:p>
            <a:pPr>
              <a:buClr>
                <a:schemeClr val="accent5"/>
              </a:buClr>
              <a:buSzPct val="121000"/>
              <a:buFont typeface="Arial" panose="020B0604020202020204" pitchFamily="34" charset="0"/>
              <a:buChar char="•"/>
            </a:pPr>
            <a:r>
              <a:rPr lang="en-US" sz="1200" b="1"/>
              <a:t>Oceans</a:t>
            </a:r>
            <a:r>
              <a:rPr lang="en-US" sz="1200"/>
              <a:t>: Utilizing the movement of tides and waves.</a:t>
            </a:r>
          </a:p>
          <a:p>
            <a:pPr>
              <a:buClr>
                <a:schemeClr val="accent5"/>
              </a:buClr>
              <a:buSzPct val="121000"/>
              <a:buFont typeface="Arial" panose="020B0604020202020204" pitchFamily="34" charset="0"/>
              <a:buChar char="•"/>
            </a:pPr>
            <a:r>
              <a:rPr lang="en-US" sz="1200" b="1"/>
              <a:t>Mountainous regions</a:t>
            </a:r>
            <a:r>
              <a:rPr lang="en-US" sz="1200"/>
              <a:t>: Harnessing the natural downhill flow of water, driven by gravity, to generate energy. </a:t>
            </a:r>
          </a:p>
          <a:p>
            <a:pPr>
              <a:buClr>
                <a:schemeClr val="accent5"/>
              </a:buClr>
              <a:buSzPct val="121000"/>
              <a:buFont typeface="Arial" panose="020B0604020202020204" pitchFamily="34" charset="0"/>
              <a:buChar char="•"/>
            </a:pPr>
            <a:r>
              <a:rPr lang="en-US" sz="1200" b="1"/>
              <a:t>Catchment areas</a:t>
            </a:r>
            <a:r>
              <a:rPr lang="en-US" sz="1200"/>
              <a:t>: Storing rainwater to ensure steady energy production.</a:t>
            </a:r>
          </a:p>
          <a:p>
            <a:pPr>
              <a:buFont typeface="Arial" panose="020B0604020202020204" pitchFamily="34" charset="0"/>
              <a:buChar char="•"/>
            </a:pPr>
            <a:endParaRPr lang="en-US" sz="1200"/>
          </a:p>
          <a:p>
            <a:pPr marL="144000" indent="0">
              <a:lnSpc>
                <a:spcPct val="114999"/>
              </a:lnSpc>
            </a:pPr>
            <a:r>
              <a:rPr lang="en-US" sz="1200">
                <a:solidFill>
                  <a:srgbClr val="000000"/>
                </a:solidFill>
              </a:rPr>
              <a:t>Each of these sources offers distinct advantages and faces unique challenges.  Understanding their potential enables the development of effective strategies for harvesting water's energy while ensuring sustainability.</a:t>
            </a:r>
          </a:p>
          <a:p>
            <a:pPr marL="144000" lvl="1" indent="0" algn="l">
              <a:lnSpc>
                <a:spcPct val="114999"/>
              </a:lnSpc>
              <a:buClr>
                <a:schemeClr val="lt1"/>
              </a:buClr>
            </a:pPr>
            <a:endParaRPr lang="en-US" sz="1200">
              <a:solidFill>
                <a:srgbClr val="000000"/>
              </a:solidFill>
            </a:endParaRPr>
          </a:p>
          <a:p>
            <a:pPr marL="144000" indent="0">
              <a:lnSpc>
                <a:spcPct val="114999"/>
              </a:lnSpc>
            </a:pPr>
            <a:endParaRPr lang="en-US" sz="1200">
              <a:solidFill>
                <a:srgbClr val="000000"/>
              </a:solidFill>
            </a:endParaRPr>
          </a:p>
          <a:p>
            <a:pPr>
              <a:buFont typeface="Arial" panose="020B0604020202020204" pitchFamily="34" charset="0"/>
              <a:buChar char="•"/>
            </a:pPr>
            <a:endParaRPr lang="en-US" sz="1200"/>
          </a:p>
        </p:txBody>
      </p:sp>
    </p:spTree>
    <p:extLst>
      <p:ext uri="{BB962C8B-B14F-4D97-AF65-F5344CB8AC3E}">
        <p14:creationId xmlns:p14="http://schemas.microsoft.com/office/powerpoint/2010/main" val="737680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5E33D864-7E1C-A54B-60B9-5558C6489660}"/>
              </a:ext>
            </a:extLst>
          </p:cNvPr>
          <p:cNvSpPr>
            <a:spLocks noGrp="1"/>
          </p:cNvSpPr>
          <p:nvPr>
            <p:ph type="sldNum" sz="quarter" idx="16"/>
          </p:nvPr>
        </p:nvSpPr>
        <p:spPr/>
        <p:txBody>
          <a:bodyPr/>
          <a:lstStyle/>
          <a:p>
            <a:fld id="{DF7F771E-9578-4C04-B869-01AF4C35C90C}" type="slidenum">
              <a:rPr lang="de-DE" smtClean="0"/>
              <a:t>16</a:t>
            </a:fld>
            <a:endParaRPr lang="de-DE"/>
          </a:p>
        </p:txBody>
      </p:sp>
      <p:sp>
        <p:nvSpPr>
          <p:cNvPr id="16" name="Untertitel 5">
            <a:extLst>
              <a:ext uri="{FF2B5EF4-FFF2-40B4-BE49-F238E27FC236}">
                <a16:creationId xmlns:a16="http://schemas.microsoft.com/office/drawing/2014/main" id="{199E0B50-9F7F-F96F-E336-46BBF4B60D23}"/>
              </a:ext>
            </a:extLst>
          </p:cNvPr>
          <p:cNvSpPr txBox="1">
            <a:spLocks/>
          </p:cNvSpPr>
          <p:nvPr/>
        </p:nvSpPr>
        <p:spPr>
          <a:xfrm>
            <a:off x="1137779" y="282822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7" name="Untertitel 3">
            <a:extLst>
              <a:ext uri="{FF2B5EF4-FFF2-40B4-BE49-F238E27FC236}">
                <a16:creationId xmlns:a16="http://schemas.microsoft.com/office/drawing/2014/main" id="{D00145F0-047B-5168-5750-7B5C0CEC3D7C}"/>
              </a:ext>
            </a:extLst>
          </p:cNvPr>
          <p:cNvSpPr txBox="1">
            <a:spLocks/>
          </p:cNvSpPr>
          <p:nvPr/>
        </p:nvSpPr>
        <p:spPr>
          <a:xfrm>
            <a:off x="719138" y="3725907"/>
            <a:ext cx="6059535" cy="16792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chemeClr val="accent5"/>
              </a:buClr>
              <a:buSzPct val="121000"/>
              <a:buFont typeface="Arial" panose="020B0604020202020204" pitchFamily="34" charset="0"/>
              <a:buChar char="•"/>
            </a:pPr>
            <a:r>
              <a:rPr lang="en-US" sz="1200"/>
              <a:t>Team up with your seat neighbor and think about a river nearby. </a:t>
            </a:r>
          </a:p>
          <a:p>
            <a:pPr>
              <a:buClr>
                <a:schemeClr val="accent5"/>
              </a:buClr>
              <a:buSzPct val="121000"/>
              <a:buFont typeface="Arial" panose="020B0604020202020204" pitchFamily="34" charset="0"/>
              <a:buChar char="•"/>
            </a:pPr>
            <a:r>
              <a:rPr lang="en-US" sz="1200"/>
              <a:t>Did you experience differences in the flow of its water stream during the year?</a:t>
            </a:r>
          </a:p>
          <a:p>
            <a:pPr>
              <a:buClr>
                <a:schemeClr val="accent5"/>
              </a:buClr>
              <a:buSzPct val="121000"/>
              <a:buFont typeface="Arial" panose="020B0604020202020204" pitchFamily="34" charset="0"/>
              <a:buChar char="•"/>
            </a:pPr>
            <a:r>
              <a:rPr lang="en-US" sz="1200"/>
              <a:t>When and why did the water stream appear differently?</a:t>
            </a:r>
          </a:p>
          <a:p>
            <a:pPr>
              <a:buClr>
                <a:schemeClr val="accent5"/>
              </a:buClr>
              <a:buSzPct val="121000"/>
              <a:buFont typeface="Arial" panose="020B0604020202020204" pitchFamily="34" charset="0"/>
              <a:buChar char="•"/>
            </a:pPr>
            <a:r>
              <a:rPr lang="en-US" sz="1200"/>
              <a:t>Are there parts of the river that have quicker water streams? If so, what could cause these differences?</a:t>
            </a:r>
          </a:p>
          <a:p>
            <a:pPr>
              <a:buClr>
                <a:schemeClr val="accent5"/>
              </a:buClr>
              <a:buSzPct val="121000"/>
              <a:buFont typeface="Arial" panose="020B0604020202020204" pitchFamily="34" charset="0"/>
              <a:buChar char="•"/>
            </a:pPr>
            <a:r>
              <a:rPr lang="en-US" sz="1200"/>
              <a:t>If you want, you can either answer in bullet points or sketch something with descriptions.</a:t>
            </a:r>
          </a:p>
          <a:p>
            <a:pPr marL="139700" indent="0"/>
            <a:endParaRPr lang="en-US" sz="1200" b="1"/>
          </a:p>
        </p:txBody>
      </p:sp>
      <p:sp>
        <p:nvSpPr>
          <p:cNvPr id="22" name="Ellipse 21">
            <a:extLst>
              <a:ext uri="{FF2B5EF4-FFF2-40B4-BE49-F238E27FC236}">
                <a16:creationId xmlns:a16="http://schemas.microsoft.com/office/drawing/2014/main" id="{96E973D9-4FF2-3C37-53F3-DB060F73443B}"/>
              </a:ext>
            </a:extLst>
          </p:cNvPr>
          <p:cNvSpPr>
            <a:spLocks noChangeAspect="1"/>
          </p:cNvSpPr>
          <p:nvPr/>
        </p:nvSpPr>
        <p:spPr>
          <a:xfrm>
            <a:off x="719138" y="2822289"/>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descr="Skizze mit einfarbiger Füllung">
            <a:extLst>
              <a:ext uri="{FF2B5EF4-FFF2-40B4-BE49-F238E27FC236}">
                <a16:creationId xmlns:a16="http://schemas.microsoft.com/office/drawing/2014/main" id="{B2A5CED1-C385-808F-0E79-4862C1041A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3615" y="2886021"/>
            <a:ext cx="379044" cy="379044"/>
          </a:xfrm>
          <a:prstGeom prst="rect">
            <a:avLst/>
          </a:prstGeom>
        </p:spPr>
      </p:pic>
      <p:sp>
        <p:nvSpPr>
          <p:cNvPr id="24" name="Untertitel 5">
            <a:extLst>
              <a:ext uri="{FF2B5EF4-FFF2-40B4-BE49-F238E27FC236}">
                <a16:creationId xmlns:a16="http://schemas.microsoft.com/office/drawing/2014/main" id="{E5D70CBA-1432-C775-2CB1-CBB62F20F8B2}"/>
              </a:ext>
            </a:extLst>
          </p:cNvPr>
          <p:cNvSpPr txBox="1">
            <a:spLocks/>
          </p:cNvSpPr>
          <p:nvPr/>
        </p:nvSpPr>
        <p:spPr>
          <a:xfrm>
            <a:off x="719138" y="3427042"/>
            <a:ext cx="461941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sp>
        <p:nvSpPr>
          <p:cNvPr id="2" name="Titel 1">
            <a:extLst>
              <a:ext uri="{FF2B5EF4-FFF2-40B4-BE49-F238E27FC236}">
                <a16:creationId xmlns:a16="http://schemas.microsoft.com/office/drawing/2014/main" id="{269EF0D9-5DE0-5014-A090-F08E819C542F}"/>
              </a:ext>
            </a:extLst>
          </p:cNvPr>
          <p:cNvSpPr>
            <a:spLocks noGrp="1"/>
          </p:cNvSpPr>
          <p:nvPr>
            <p:ph type="title"/>
          </p:nvPr>
        </p:nvSpPr>
        <p:spPr>
          <a:xfrm>
            <a:off x="719138" y="1277938"/>
            <a:ext cx="6380336" cy="796854"/>
          </a:xfrm>
        </p:spPr>
        <p:txBody>
          <a:bodyPr/>
          <a:lstStyle/>
          <a:p>
            <a:r>
              <a:rPr lang="en-US"/>
              <a:t>1. Rivers</a:t>
            </a:r>
            <a:endParaRPr lang="de-DE"/>
          </a:p>
        </p:txBody>
      </p:sp>
      <p:sp>
        <p:nvSpPr>
          <p:cNvPr id="4" name="Untertitel 3">
            <a:extLst>
              <a:ext uri="{FF2B5EF4-FFF2-40B4-BE49-F238E27FC236}">
                <a16:creationId xmlns:a16="http://schemas.microsoft.com/office/drawing/2014/main" id="{7D13C76D-B3EF-7DE7-A345-71ABCF3F2082}"/>
              </a:ext>
            </a:extLst>
          </p:cNvPr>
          <p:cNvSpPr txBox="1">
            <a:spLocks/>
          </p:cNvSpPr>
          <p:nvPr/>
        </p:nvSpPr>
        <p:spPr>
          <a:xfrm>
            <a:off x="719138" y="1860197"/>
            <a:ext cx="6117097"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solidFill>
                  <a:srgbClr val="000000"/>
                </a:solidFill>
              </a:rPr>
              <a:t>The target of this exercise is to understand why rivers are a vital resource for hydro-</a:t>
            </a:r>
          </a:p>
          <a:p>
            <a:pPr marL="139700" indent="0"/>
            <a:r>
              <a:rPr lang="en-US" sz="1200">
                <a:solidFill>
                  <a:srgbClr val="000000"/>
                </a:solidFill>
              </a:rPr>
              <a:t>energy. You will explore how to manage river streams effectively to harness their energy potential. </a:t>
            </a:r>
          </a:p>
        </p:txBody>
      </p:sp>
      <p:sp>
        <p:nvSpPr>
          <p:cNvPr id="7" name="Textfeld 11">
            <a:extLst>
              <a:ext uri="{FF2B5EF4-FFF2-40B4-BE49-F238E27FC236}">
                <a16:creationId xmlns:a16="http://schemas.microsoft.com/office/drawing/2014/main" id="{80D94A91-5AB9-7EAF-05AB-60F5502A4CED}"/>
              </a:ext>
            </a:extLst>
          </p:cNvPr>
          <p:cNvSpPr txBox="1"/>
          <p:nvPr/>
        </p:nvSpPr>
        <p:spPr>
          <a:xfrm>
            <a:off x="859664" y="5598801"/>
            <a:ext cx="5919009" cy="243143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1200" dirty="0">
              <a:solidFill>
                <a:srgbClr val="FF0000"/>
              </a:solidFill>
              <a:effectLst/>
              <a:latin typeface="Sofia Sans"/>
              <a:ea typeface="Times New Roman" panose="02020603050405020304" pitchFamily="18" charset="0"/>
            </a:endParaRPr>
          </a:p>
          <a:p>
            <a:r>
              <a:rPr lang="en-US" sz="1200" dirty="0">
                <a:solidFill>
                  <a:srgbClr val="FF0000"/>
                </a:solidFill>
                <a:effectLst/>
                <a:latin typeface="Sofia Sans"/>
                <a:ea typeface="Times New Roman" panose="02020603050405020304" pitchFamily="18" charset="0"/>
              </a:rPr>
              <a:t>Yes, there are differences. </a:t>
            </a:r>
          </a:p>
          <a:p>
            <a:r>
              <a:rPr lang="en-US" sz="1200" dirty="0">
                <a:solidFill>
                  <a:srgbClr val="FF0000"/>
                </a:solidFill>
                <a:effectLst/>
                <a:latin typeface="Sofia Sans"/>
                <a:ea typeface="Times New Roman" panose="02020603050405020304" pitchFamily="18" charset="0"/>
              </a:rPr>
              <a:t>The water stream often flows faster during the rainy season due to increased rainfall, which adds more water to the river. </a:t>
            </a:r>
          </a:p>
          <a:p>
            <a:r>
              <a:rPr lang="en-US" sz="1200" dirty="0">
                <a:solidFill>
                  <a:srgbClr val="FF0000"/>
                </a:solidFill>
                <a:effectLst/>
                <a:latin typeface="Sofia Sans"/>
                <a:ea typeface="Times New Roman" panose="02020603050405020304" pitchFamily="18" charset="0"/>
              </a:rPr>
              <a:t>In contrast, during the dry season, the flow slows down because there’s less water from precipitation.</a:t>
            </a:r>
          </a:p>
          <a:p>
            <a:endParaRPr lang="en-US" sz="1200" dirty="0">
              <a:solidFill>
                <a:srgbClr val="FF0000"/>
              </a:solidFill>
              <a:effectLst/>
              <a:latin typeface="Sofia Sans"/>
              <a:ea typeface="Times New Roman" panose="02020603050405020304" pitchFamily="18" charset="0"/>
            </a:endParaRPr>
          </a:p>
          <a:p>
            <a:r>
              <a:rPr lang="en-US" sz="1200" dirty="0">
                <a:solidFill>
                  <a:srgbClr val="FF0000"/>
                </a:solidFill>
                <a:effectLst/>
                <a:latin typeface="Sofia Sans"/>
                <a:ea typeface="Times New Roman" panose="02020603050405020304" pitchFamily="18" charset="0"/>
              </a:rPr>
              <a:t>Parts of the river with steeper slopes or narrower channels usually have quicker water streams, caused by gravity pulling the water downhill more forcefully or by the water being compressed in narrower spaces. </a:t>
            </a:r>
          </a:p>
          <a:p>
            <a:r>
              <a:rPr lang="en-US" sz="1200" dirty="0">
                <a:solidFill>
                  <a:srgbClr val="FF0000"/>
                </a:solidFill>
                <a:effectLst/>
                <a:latin typeface="Sofia Sans"/>
                <a:ea typeface="Times New Roman" panose="02020603050405020304" pitchFamily="18" charset="0"/>
              </a:rPr>
              <a:t>Obstacles like rocks can also create areas of turbulence and faster flow.</a:t>
            </a:r>
          </a:p>
        </p:txBody>
      </p:sp>
    </p:spTree>
    <p:extLst>
      <p:ext uri="{BB962C8B-B14F-4D97-AF65-F5344CB8AC3E}">
        <p14:creationId xmlns:p14="http://schemas.microsoft.com/office/powerpoint/2010/main" val="3420601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2A2A5-20D5-74DE-1DFF-6A56711BAA44}"/>
            </a:ext>
          </a:extLst>
        </p:cNvPr>
        <p:cNvGrpSpPr/>
        <p:nvPr/>
      </p:nvGrpSpPr>
      <p:grpSpPr>
        <a:xfrm>
          <a:off x="0" y="0"/>
          <a:ext cx="0" cy="0"/>
          <a:chOff x="0" y="0"/>
          <a:chExt cx="0" cy="0"/>
        </a:xfrm>
      </p:grpSpPr>
      <p:sp>
        <p:nvSpPr>
          <p:cNvPr id="5" name="Textfeld 11">
            <a:extLst>
              <a:ext uri="{FF2B5EF4-FFF2-40B4-BE49-F238E27FC236}">
                <a16:creationId xmlns:a16="http://schemas.microsoft.com/office/drawing/2014/main" id="{A78C6072-04F5-1453-3D1E-D03F0BD75EEC}"/>
              </a:ext>
            </a:extLst>
          </p:cNvPr>
          <p:cNvSpPr txBox="1"/>
          <p:nvPr/>
        </p:nvSpPr>
        <p:spPr>
          <a:xfrm>
            <a:off x="921876" y="6654660"/>
            <a:ext cx="5919009" cy="89462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Seasonal changes such as rainy or dry seasons.</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Long-term climate change causing unpredictable water patterns.</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Increased human activity upstream, such as irrigation or industrial water use.</a:t>
            </a:r>
            <a:endParaRPr lang="en-US" sz="1200" b="1" dirty="0">
              <a:latin typeface="Sofia Sans" panose="020B0604020202020204" charset="0"/>
            </a:endParaRPr>
          </a:p>
        </p:txBody>
      </p:sp>
      <p:sp>
        <p:nvSpPr>
          <p:cNvPr id="3" name="Untertitel 3">
            <a:extLst>
              <a:ext uri="{FF2B5EF4-FFF2-40B4-BE49-F238E27FC236}">
                <a16:creationId xmlns:a16="http://schemas.microsoft.com/office/drawing/2014/main" id="{31772336-992E-8A47-6BD1-38A9DEBC52CA}"/>
              </a:ext>
            </a:extLst>
          </p:cNvPr>
          <p:cNvSpPr txBox="1">
            <a:spLocks/>
          </p:cNvSpPr>
          <p:nvPr/>
        </p:nvSpPr>
        <p:spPr>
          <a:xfrm>
            <a:off x="719138" y="1651218"/>
            <a:ext cx="6122097" cy="294005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Operating a Semi-Regulated River for Energy Production</a:t>
            </a:r>
          </a:p>
          <a:p>
            <a:endParaRPr lang="en-US" sz="1200" b="1"/>
          </a:p>
          <a:p>
            <a:r>
              <a:rPr lang="en-US" sz="1200" b="1"/>
              <a:t>Objective:</a:t>
            </a:r>
          </a:p>
          <a:p>
            <a:r>
              <a:rPr lang="en-US" sz="1200"/>
              <a:t>Analyze a semi-regulated river for hydroelectric energy production under different </a:t>
            </a:r>
          </a:p>
          <a:p>
            <a:r>
              <a:rPr lang="en-US" sz="1200"/>
              <a:t>scenarios. Predict outcomes, discuss challenges, and propose solutions to maintain </a:t>
            </a:r>
          </a:p>
          <a:p>
            <a:r>
              <a:rPr lang="en-US" sz="1200"/>
              <a:t>energy production while managing other factors.</a:t>
            </a:r>
          </a:p>
          <a:p>
            <a:endParaRPr lang="en-US" sz="1200" b="1"/>
          </a:p>
          <a:p>
            <a:r>
              <a:rPr lang="en-US" sz="1200" b="1"/>
              <a:t>Start Scenario:</a:t>
            </a:r>
          </a:p>
          <a:p>
            <a:pPr>
              <a:buClr>
                <a:schemeClr val="accent5"/>
              </a:buClr>
              <a:buSzPct val="121000"/>
              <a:buFont typeface="Arial" panose="020B0604020202020204" pitchFamily="34" charset="0"/>
              <a:buChar char="•"/>
            </a:pPr>
            <a:r>
              <a:rPr lang="en-US" sz="1200"/>
              <a:t>A semi-regulated river flows through a hydroelectric power plant.</a:t>
            </a:r>
          </a:p>
          <a:p>
            <a:pPr>
              <a:buClr>
                <a:schemeClr val="accent5"/>
              </a:buClr>
              <a:buSzPct val="121000"/>
              <a:buFont typeface="Arial" panose="020B0604020202020204" pitchFamily="34" charset="0"/>
              <a:buChar char="•"/>
            </a:pPr>
            <a:r>
              <a:rPr lang="en-US" sz="1200"/>
              <a:t>Normal production capacity: </a:t>
            </a:r>
            <a:r>
              <a:rPr lang="en-US" sz="1200" b="1"/>
              <a:t>30 MW</a:t>
            </a:r>
            <a:r>
              <a:rPr lang="en-US" sz="1200"/>
              <a:t> under average water flow conditions.</a:t>
            </a:r>
          </a:p>
          <a:p>
            <a:endParaRPr lang="en-US" sz="1200"/>
          </a:p>
          <a:p>
            <a:r>
              <a:rPr lang="en-US" sz="1200" b="1"/>
              <a:t>Your Role</a:t>
            </a:r>
            <a:r>
              <a:rPr lang="en-US" sz="1200"/>
              <a:t>:</a:t>
            </a:r>
          </a:p>
          <a:p>
            <a:pPr marL="311150" indent="-171450">
              <a:buClr>
                <a:schemeClr val="accent5"/>
              </a:buClr>
              <a:buSzPct val="121000"/>
              <a:buFont typeface="Arial" panose="020B0604020202020204" pitchFamily="34" charset="0"/>
              <a:buChar char="•"/>
            </a:pPr>
            <a:r>
              <a:rPr lang="en-US" sz="1200"/>
              <a:t>You work individually or in small groups to analyze each scenario and answer open-ended questions.</a:t>
            </a:r>
          </a:p>
          <a:p>
            <a:endParaRPr lang="en-US" sz="1200"/>
          </a:p>
          <a:p>
            <a:endParaRPr lang="en-US" sz="1200" b="1"/>
          </a:p>
          <a:p>
            <a:endParaRPr lang="en-US" sz="1200" b="1"/>
          </a:p>
        </p:txBody>
      </p:sp>
      <p:sp>
        <p:nvSpPr>
          <p:cNvPr id="15" name="Foliennummernplatzhalter 14">
            <a:extLst>
              <a:ext uri="{FF2B5EF4-FFF2-40B4-BE49-F238E27FC236}">
                <a16:creationId xmlns:a16="http://schemas.microsoft.com/office/drawing/2014/main" id="{CDC3B7E3-1477-BD03-9F1B-B9F366492DAC}"/>
              </a:ext>
            </a:extLst>
          </p:cNvPr>
          <p:cNvSpPr>
            <a:spLocks noGrp="1"/>
          </p:cNvSpPr>
          <p:nvPr>
            <p:ph type="sldNum" sz="quarter" idx="10"/>
          </p:nvPr>
        </p:nvSpPr>
        <p:spPr/>
        <p:txBody>
          <a:bodyPr/>
          <a:lstStyle/>
          <a:p>
            <a:fld id="{DF7F771E-9578-4C04-B869-01AF4C35C90C}" type="slidenum">
              <a:rPr lang="de-DE" smtClean="0"/>
              <a:t>17</a:t>
            </a:fld>
            <a:endParaRPr lang="de-DE"/>
          </a:p>
        </p:txBody>
      </p:sp>
      <p:sp>
        <p:nvSpPr>
          <p:cNvPr id="24" name="Untertitel 5">
            <a:extLst>
              <a:ext uri="{FF2B5EF4-FFF2-40B4-BE49-F238E27FC236}">
                <a16:creationId xmlns:a16="http://schemas.microsoft.com/office/drawing/2014/main" id="{77863065-5F54-DA67-5450-F91AF4E36C1A}"/>
              </a:ext>
            </a:extLst>
          </p:cNvPr>
          <p:cNvSpPr txBox="1">
            <a:spLocks/>
          </p:cNvSpPr>
          <p:nvPr/>
        </p:nvSpPr>
        <p:spPr>
          <a:xfrm>
            <a:off x="738608" y="1277938"/>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6" name="Textfeld 11">
            <a:extLst>
              <a:ext uri="{FF2B5EF4-FFF2-40B4-BE49-F238E27FC236}">
                <a16:creationId xmlns:a16="http://schemas.microsoft.com/office/drawing/2014/main" id="{AF81BC23-3ADC-96B9-DA6A-41F84C053792}"/>
              </a:ext>
            </a:extLst>
          </p:cNvPr>
          <p:cNvSpPr txBox="1"/>
          <p:nvPr/>
        </p:nvSpPr>
        <p:spPr>
          <a:xfrm>
            <a:off x="921875" y="8360652"/>
            <a:ext cx="5919009" cy="1246410"/>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Clr>
                <a:schemeClr val="accent5"/>
              </a:buClr>
              <a:buFont typeface="Arial" panose="020B0604020202020204" pitchFamily="34" charset="0"/>
              <a:buChar char="•"/>
            </a:pPr>
            <a:r>
              <a:rPr lang="en-US" sz="1200" dirty="0">
                <a:solidFill>
                  <a:srgbClr val="FF0000"/>
                </a:solidFill>
              </a:rPr>
              <a:t>Overusing water for energy could deplete reservoir levels, leaving no reserve for</a:t>
            </a:r>
          </a:p>
          <a:p>
            <a:pPr marL="319088">
              <a:buClr>
                <a:schemeClr val="accent5"/>
              </a:buClr>
            </a:pPr>
            <a:r>
              <a:rPr lang="en-US" sz="1200" dirty="0">
                <a:solidFill>
                  <a:srgbClr val="FF0000"/>
                </a:solidFill>
              </a:rPr>
              <a:t>droughts or emergencies.</a:t>
            </a:r>
          </a:p>
          <a:p>
            <a:pPr marL="311150" indent="-171450">
              <a:buClr>
                <a:schemeClr val="accent5"/>
              </a:buClr>
              <a:buFont typeface="Arial" panose="020B0604020202020204" pitchFamily="34" charset="0"/>
              <a:buChar char="•"/>
            </a:pPr>
            <a:r>
              <a:rPr lang="en-US" sz="1200" dirty="0">
                <a:solidFill>
                  <a:srgbClr val="FF0000"/>
                </a:solidFill>
              </a:rPr>
              <a:t>Excessive water release could disrupt ecosystems downstream.</a:t>
            </a:r>
          </a:p>
          <a:p>
            <a:pPr marL="311150" indent="-171450">
              <a:buClr>
                <a:schemeClr val="accent5"/>
              </a:buClr>
              <a:buFont typeface="Arial" panose="020B0604020202020204" pitchFamily="34" charset="0"/>
              <a:buChar char="•"/>
            </a:pPr>
            <a:r>
              <a:rPr lang="en-US" sz="1200" dirty="0">
                <a:solidFill>
                  <a:srgbClr val="FF0000"/>
                </a:solidFill>
              </a:rPr>
              <a:t>Balancing ensures consistent energy production and minimizes environmental harm</a:t>
            </a:r>
          </a:p>
        </p:txBody>
      </p:sp>
      <p:pic>
        <p:nvPicPr>
          <p:cNvPr id="4" name="Grafik 3" descr="Ein Bild, das Schwarz, Dunkelheit enthält.&#10;&#10;Automatisch generierte Beschreibung">
            <a:extLst>
              <a:ext uri="{FF2B5EF4-FFF2-40B4-BE49-F238E27FC236}">
                <a16:creationId xmlns:a16="http://schemas.microsoft.com/office/drawing/2014/main" id="{689793FC-4D7B-414D-C9C6-BFCA2016103B}"/>
              </a:ext>
            </a:extLst>
          </p:cNvPr>
          <p:cNvPicPr>
            <a:picLocks noChangeAspect="1"/>
          </p:cNvPicPr>
          <p:nvPr/>
        </p:nvPicPr>
        <p:blipFill>
          <a:blip r:embed="rId3"/>
          <a:stretch>
            <a:fillRect/>
          </a:stretch>
        </p:blipFill>
        <p:spPr>
          <a:xfrm>
            <a:off x="5503817" y="1300486"/>
            <a:ext cx="701463" cy="701463"/>
          </a:xfrm>
          <a:prstGeom prst="rect">
            <a:avLst/>
          </a:prstGeom>
        </p:spPr>
      </p:pic>
      <p:sp>
        <p:nvSpPr>
          <p:cNvPr id="2" name="Untertitel 3">
            <a:extLst>
              <a:ext uri="{FF2B5EF4-FFF2-40B4-BE49-F238E27FC236}">
                <a16:creationId xmlns:a16="http://schemas.microsoft.com/office/drawing/2014/main" id="{F430B3D8-A873-7B7F-9BD9-86C6B7C59B55}"/>
              </a:ext>
            </a:extLst>
          </p:cNvPr>
          <p:cNvSpPr txBox="1">
            <a:spLocks/>
          </p:cNvSpPr>
          <p:nvPr/>
        </p:nvSpPr>
        <p:spPr>
          <a:xfrm>
            <a:off x="718788" y="4764532"/>
            <a:ext cx="6122097" cy="18278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u="sng">
                <a:solidFill>
                  <a:srgbClr val="3B5775"/>
                </a:solidFill>
              </a:rPr>
              <a:t>Scenario 1: Normal Flow</a:t>
            </a:r>
          </a:p>
          <a:p>
            <a:endParaRPr lang="en-US" sz="1200" b="1"/>
          </a:p>
          <a:p>
            <a:r>
              <a:rPr lang="en-US" sz="1200" b="1">
                <a:solidFill>
                  <a:schemeClr val="accent5"/>
                </a:solidFill>
              </a:rPr>
              <a:t>Description</a:t>
            </a:r>
            <a:r>
              <a:rPr lang="en-US" sz="1200" b="1"/>
              <a:t>: </a:t>
            </a:r>
            <a:r>
              <a:rPr lang="en-US" sz="1200"/>
              <a:t>The river flow is steady and the power plant operates normally, producing a constant rate of 30 MW of electricity.</a:t>
            </a:r>
          </a:p>
          <a:p>
            <a:endParaRPr lang="en-US" sz="1200" b="1"/>
          </a:p>
          <a:p>
            <a:r>
              <a:rPr lang="en-US" sz="1200" b="1" u="sng">
                <a:solidFill>
                  <a:schemeClr val="accent5"/>
                </a:solidFill>
              </a:rPr>
              <a:t>Questions</a:t>
            </a:r>
            <a:r>
              <a:rPr lang="en-US" sz="1200" b="1" u="sng"/>
              <a:t>:</a:t>
            </a:r>
          </a:p>
          <a:p>
            <a:endParaRPr lang="en-US" sz="1200"/>
          </a:p>
          <a:p>
            <a:pPr marL="139700" indent="0"/>
            <a:r>
              <a:rPr lang="en-US" sz="1200" b="1"/>
              <a:t>1. What factors might affect the stability of this flow over time?</a:t>
            </a:r>
          </a:p>
          <a:p>
            <a:endParaRPr lang="en-US" sz="1200" b="1"/>
          </a:p>
        </p:txBody>
      </p:sp>
      <p:sp>
        <p:nvSpPr>
          <p:cNvPr id="7" name="Untertitel 3">
            <a:extLst>
              <a:ext uri="{FF2B5EF4-FFF2-40B4-BE49-F238E27FC236}">
                <a16:creationId xmlns:a16="http://schemas.microsoft.com/office/drawing/2014/main" id="{E1FEE3A2-3B3E-3320-3713-006A3EECD2E4}"/>
              </a:ext>
            </a:extLst>
          </p:cNvPr>
          <p:cNvSpPr txBox="1">
            <a:spLocks/>
          </p:cNvSpPr>
          <p:nvPr/>
        </p:nvSpPr>
        <p:spPr>
          <a:xfrm>
            <a:off x="738608" y="7658209"/>
            <a:ext cx="6122097" cy="4003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2. Why is it important to maintain a balance between energy production and water levels?</a:t>
            </a:r>
          </a:p>
        </p:txBody>
      </p:sp>
    </p:spTree>
    <p:extLst>
      <p:ext uri="{BB962C8B-B14F-4D97-AF65-F5344CB8AC3E}">
        <p14:creationId xmlns:p14="http://schemas.microsoft.com/office/powerpoint/2010/main" val="2202070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75193-C81D-52B3-D863-C34C308F67F2}"/>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6EE908C8-4D59-951F-4473-CEB7FCC28DA0}"/>
              </a:ext>
            </a:extLst>
          </p:cNvPr>
          <p:cNvSpPr>
            <a:spLocks noGrp="1"/>
          </p:cNvSpPr>
          <p:nvPr>
            <p:ph type="sldNum" sz="quarter" idx="4"/>
          </p:nvPr>
        </p:nvSpPr>
        <p:spPr/>
        <p:txBody>
          <a:bodyPr/>
          <a:lstStyle/>
          <a:p>
            <a:fld id="{DF7F771E-9578-4C04-B869-01AF4C35C90C}" type="slidenum">
              <a:rPr lang="de-DE" smtClean="0"/>
              <a:t>18</a:t>
            </a:fld>
            <a:endParaRPr lang="de-DE"/>
          </a:p>
        </p:txBody>
      </p:sp>
      <p:sp>
        <p:nvSpPr>
          <p:cNvPr id="3" name="Textfeld 11">
            <a:extLst>
              <a:ext uri="{FF2B5EF4-FFF2-40B4-BE49-F238E27FC236}">
                <a16:creationId xmlns:a16="http://schemas.microsoft.com/office/drawing/2014/main" id="{2247018F-4974-D026-7720-A30CF47E5972}"/>
              </a:ext>
            </a:extLst>
          </p:cNvPr>
          <p:cNvSpPr txBox="1"/>
          <p:nvPr/>
        </p:nvSpPr>
        <p:spPr>
          <a:xfrm>
            <a:off x="921528" y="8093042"/>
            <a:ext cx="5919009" cy="159603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solidFill>
                <a:srgbClr val="FF0000"/>
              </a:solidFill>
              <a:latin typeface="Sofia Sans" panose="020B0604020202020204" charset="0"/>
            </a:endParaRPr>
          </a:p>
          <a:p>
            <a:pPr marL="171450" indent="-171450">
              <a:buFont typeface="Arial" panose="020B0604020202020204" pitchFamily="34" charset="0"/>
              <a:buChar char="•"/>
            </a:pPr>
            <a:endParaRPr lang="en-US" sz="1200" dirty="0">
              <a:solidFill>
                <a:srgbClr val="FF0000"/>
              </a:solidFill>
              <a:latin typeface="Sofia Sans" panose="020B0604020202020204" charset="0"/>
            </a:endParaRPr>
          </a:p>
          <a:p>
            <a:pPr marL="1714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The reservoir could be completely drained, making the power plant inoperable.</a:t>
            </a:r>
          </a:p>
          <a:p>
            <a:pPr marL="1714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Wildlife and ecosystems that depend on the water would be severely affected.</a:t>
            </a:r>
          </a:p>
          <a:p>
            <a:pPr marL="1714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Downstream communities might face water shortages.</a:t>
            </a:r>
          </a:p>
        </p:txBody>
      </p:sp>
      <p:sp>
        <p:nvSpPr>
          <p:cNvPr id="4" name="Textfeld 11">
            <a:extLst>
              <a:ext uri="{FF2B5EF4-FFF2-40B4-BE49-F238E27FC236}">
                <a16:creationId xmlns:a16="http://schemas.microsoft.com/office/drawing/2014/main" id="{D81BFEC6-911F-3E13-3593-71082AA75BF1}"/>
              </a:ext>
            </a:extLst>
          </p:cNvPr>
          <p:cNvSpPr txBox="1"/>
          <p:nvPr/>
        </p:nvSpPr>
        <p:spPr>
          <a:xfrm>
            <a:off x="921528" y="3709851"/>
            <a:ext cx="5919009" cy="131906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39700"/>
            <a:endParaRPr lang="en-US" sz="1200" dirty="0">
              <a:latin typeface="Sofia Sans" panose="020B0604020202020204" charset="0"/>
            </a:endParaRPr>
          </a:p>
          <a:p>
            <a:pPr marL="17280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Electricity production decreases because there isn’t enough water to drive the turbines effectively.</a:t>
            </a:r>
          </a:p>
        </p:txBody>
      </p:sp>
      <p:sp>
        <p:nvSpPr>
          <p:cNvPr id="5" name="Textfeld 11">
            <a:extLst>
              <a:ext uri="{FF2B5EF4-FFF2-40B4-BE49-F238E27FC236}">
                <a16:creationId xmlns:a16="http://schemas.microsoft.com/office/drawing/2014/main" id="{014D974D-113C-9B24-82DE-6CF42C1D2C0A}"/>
              </a:ext>
            </a:extLst>
          </p:cNvPr>
          <p:cNvSpPr txBox="1"/>
          <p:nvPr/>
        </p:nvSpPr>
        <p:spPr>
          <a:xfrm>
            <a:off x="921528" y="5837269"/>
            <a:ext cx="5919009" cy="159603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solidFill>
                <a:srgbClr val="FF0000"/>
              </a:solidFill>
              <a:latin typeface="Sofia Sans" panose="020B0604020202020204" charset="0"/>
            </a:endParaRPr>
          </a:p>
          <a:p>
            <a:pPr marL="171450" indent="-171450">
              <a:buFont typeface="Arial" panose="020B0604020202020204" pitchFamily="34" charset="0"/>
              <a:buChar char="•"/>
            </a:pPr>
            <a:r>
              <a:rPr lang="en-US" sz="1200" dirty="0">
                <a:solidFill>
                  <a:srgbClr val="FF0000"/>
                </a:solidFill>
                <a:latin typeface="Sofia Sans" panose="020B0604020202020204" charset="0"/>
              </a:rPr>
              <a:t>Reduce energy output to preserve water in the reservoir for critical needs.</a:t>
            </a:r>
          </a:p>
          <a:p>
            <a:pPr marL="171450" indent="-171450">
              <a:buFont typeface="Arial" panose="020B0604020202020204" pitchFamily="34" charset="0"/>
              <a:buChar char="•"/>
            </a:pPr>
            <a:r>
              <a:rPr lang="en-US" sz="1200" dirty="0">
                <a:solidFill>
                  <a:srgbClr val="FF0000"/>
                </a:solidFill>
                <a:latin typeface="Sofia Sans" panose="020B0604020202020204" charset="0"/>
              </a:rPr>
              <a:t>Supplement with alternative energy sources like solar or wind if available.</a:t>
            </a:r>
          </a:p>
          <a:p>
            <a:pPr marL="171450" indent="-171450">
              <a:buFont typeface="Arial" panose="020B0604020202020204" pitchFamily="34" charset="0"/>
              <a:buChar char="•"/>
            </a:pPr>
            <a:r>
              <a:rPr lang="en-US" sz="1200" dirty="0">
                <a:solidFill>
                  <a:srgbClr val="FF0000"/>
                </a:solidFill>
                <a:latin typeface="Sofia Sans" panose="020B0604020202020204" charset="0"/>
              </a:rPr>
              <a:t>Work with the community to promote energy conservation.</a:t>
            </a:r>
          </a:p>
        </p:txBody>
      </p:sp>
      <p:pic>
        <p:nvPicPr>
          <p:cNvPr id="8" name="Grafik 7" descr="Ein Bild, das Schwarz, Dunkelheit enthält.&#10;&#10;Automatisch generierte Beschreibung">
            <a:extLst>
              <a:ext uri="{FF2B5EF4-FFF2-40B4-BE49-F238E27FC236}">
                <a16:creationId xmlns:a16="http://schemas.microsoft.com/office/drawing/2014/main" id="{9287D6C2-AB6C-EEB8-EBAE-97335A63DE2C}"/>
              </a:ext>
            </a:extLst>
          </p:cNvPr>
          <p:cNvPicPr>
            <a:picLocks noChangeAspect="1"/>
          </p:cNvPicPr>
          <p:nvPr/>
        </p:nvPicPr>
        <p:blipFill>
          <a:blip r:embed="rId2"/>
          <a:stretch>
            <a:fillRect/>
          </a:stretch>
        </p:blipFill>
        <p:spPr>
          <a:xfrm>
            <a:off x="5670005" y="1345728"/>
            <a:ext cx="701702" cy="701702"/>
          </a:xfrm>
          <a:prstGeom prst="rect">
            <a:avLst/>
          </a:prstGeom>
        </p:spPr>
      </p:pic>
      <p:sp>
        <p:nvSpPr>
          <p:cNvPr id="6" name="Untertitel 3">
            <a:extLst>
              <a:ext uri="{FF2B5EF4-FFF2-40B4-BE49-F238E27FC236}">
                <a16:creationId xmlns:a16="http://schemas.microsoft.com/office/drawing/2014/main" id="{5E9EB392-106A-8A13-03ED-0EDA55B968B4}"/>
              </a:ext>
            </a:extLst>
          </p:cNvPr>
          <p:cNvSpPr txBox="1">
            <a:spLocks/>
          </p:cNvSpPr>
          <p:nvPr/>
        </p:nvSpPr>
        <p:spPr>
          <a:xfrm>
            <a:off x="719138" y="1651218"/>
            <a:ext cx="6122097" cy="20586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u="sng">
                <a:solidFill>
                  <a:schemeClr val="accent5"/>
                </a:solidFill>
              </a:rPr>
              <a:t>Scenario 2: Drought</a:t>
            </a:r>
          </a:p>
          <a:p>
            <a:endParaRPr lang="en-US" sz="1200" b="1"/>
          </a:p>
          <a:p>
            <a:r>
              <a:rPr lang="en-US" sz="1200" b="1">
                <a:solidFill>
                  <a:schemeClr val="accent5"/>
                </a:solidFill>
              </a:rPr>
              <a:t>Description</a:t>
            </a:r>
            <a:r>
              <a:rPr lang="en-US" sz="1200"/>
              <a:t>:</a:t>
            </a:r>
          </a:p>
          <a:p>
            <a:r>
              <a:rPr lang="en-US" sz="1200"/>
              <a:t>A prolonged drought reduces the river’s water flow significantly. Rainfall is minimal, and</a:t>
            </a:r>
          </a:p>
          <a:p>
            <a:r>
              <a:rPr lang="en-US" sz="1200"/>
              <a:t>reservoir levels are dropping.</a:t>
            </a:r>
          </a:p>
          <a:p>
            <a:endParaRPr lang="en-US" sz="1200"/>
          </a:p>
          <a:p>
            <a:r>
              <a:rPr lang="en-US" sz="1200" b="1" u="sng">
                <a:solidFill>
                  <a:schemeClr val="accent5"/>
                </a:solidFill>
              </a:rPr>
              <a:t>Questions</a:t>
            </a:r>
            <a:r>
              <a:rPr lang="en-US" sz="1200" b="1" u="sng"/>
              <a:t>:</a:t>
            </a:r>
          </a:p>
          <a:p>
            <a:endParaRPr lang="en-US" sz="1200"/>
          </a:p>
          <a:p>
            <a:pPr marL="139700" indent="0"/>
            <a:r>
              <a:rPr lang="en-US" sz="1200" b="1"/>
              <a:t>1. What happens to electricity production when water flow is reduced?</a:t>
            </a:r>
          </a:p>
        </p:txBody>
      </p:sp>
      <p:sp>
        <p:nvSpPr>
          <p:cNvPr id="7" name="Untertitel 5">
            <a:extLst>
              <a:ext uri="{FF2B5EF4-FFF2-40B4-BE49-F238E27FC236}">
                <a16:creationId xmlns:a16="http://schemas.microsoft.com/office/drawing/2014/main" id="{705E5F24-F50C-628A-9E1A-BEA0E878F49D}"/>
              </a:ext>
            </a:extLst>
          </p:cNvPr>
          <p:cNvSpPr txBox="1">
            <a:spLocks/>
          </p:cNvSpPr>
          <p:nvPr/>
        </p:nvSpPr>
        <p:spPr>
          <a:xfrm>
            <a:off x="738608" y="1277938"/>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3</a:t>
            </a:r>
          </a:p>
        </p:txBody>
      </p:sp>
      <p:sp>
        <p:nvSpPr>
          <p:cNvPr id="14" name="Untertitel 3">
            <a:extLst>
              <a:ext uri="{FF2B5EF4-FFF2-40B4-BE49-F238E27FC236}">
                <a16:creationId xmlns:a16="http://schemas.microsoft.com/office/drawing/2014/main" id="{E2AE1635-15AD-94B6-901B-16C8293EA3BC}"/>
              </a:ext>
            </a:extLst>
          </p:cNvPr>
          <p:cNvSpPr txBox="1">
            <a:spLocks/>
          </p:cNvSpPr>
          <p:nvPr/>
        </p:nvSpPr>
        <p:spPr>
          <a:xfrm>
            <a:off x="718440" y="5139671"/>
            <a:ext cx="6122097" cy="64782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2. What actions could the power plant operators take to sustain energy production during the drought?</a:t>
            </a:r>
          </a:p>
        </p:txBody>
      </p:sp>
      <p:sp>
        <p:nvSpPr>
          <p:cNvPr id="16" name="Untertitel 3">
            <a:extLst>
              <a:ext uri="{FF2B5EF4-FFF2-40B4-BE49-F238E27FC236}">
                <a16:creationId xmlns:a16="http://schemas.microsoft.com/office/drawing/2014/main" id="{1CAD3DEA-CF42-3120-07CD-DD79E5CF30F7}"/>
              </a:ext>
            </a:extLst>
          </p:cNvPr>
          <p:cNvSpPr txBox="1">
            <a:spLocks/>
          </p:cNvSpPr>
          <p:nvPr/>
        </p:nvSpPr>
        <p:spPr>
          <a:xfrm>
            <a:off x="718439" y="7571992"/>
            <a:ext cx="6122097" cy="4050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3. What are potential consequences of overusing the remaining water in the reservoir?</a:t>
            </a:r>
          </a:p>
        </p:txBody>
      </p:sp>
    </p:spTree>
    <p:extLst>
      <p:ext uri="{BB962C8B-B14F-4D97-AF65-F5344CB8AC3E}">
        <p14:creationId xmlns:p14="http://schemas.microsoft.com/office/powerpoint/2010/main" val="21740130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EFB6C-AA0C-55AF-AC5A-B095EEE38BA1}"/>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47E8B450-6389-0A35-F674-AD52BC963E98}"/>
              </a:ext>
            </a:extLst>
          </p:cNvPr>
          <p:cNvSpPr>
            <a:spLocks noGrp="1"/>
          </p:cNvSpPr>
          <p:nvPr>
            <p:ph type="sldNum" sz="quarter" idx="16"/>
          </p:nvPr>
        </p:nvSpPr>
        <p:spPr/>
        <p:txBody>
          <a:bodyPr/>
          <a:lstStyle/>
          <a:p>
            <a:fld id="{DF7F771E-9578-4C04-B869-01AF4C35C90C}" type="slidenum">
              <a:rPr lang="de-DE" smtClean="0"/>
              <a:t>19</a:t>
            </a:fld>
            <a:endParaRPr lang="de-DE"/>
          </a:p>
        </p:txBody>
      </p:sp>
      <p:sp>
        <p:nvSpPr>
          <p:cNvPr id="3" name="Textfeld 11">
            <a:extLst>
              <a:ext uri="{FF2B5EF4-FFF2-40B4-BE49-F238E27FC236}">
                <a16:creationId xmlns:a16="http://schemas.microsoft.com/office/drawing/2014/main" id="{8C2213D3-EF0B-44CE-ACF8-78C21EC60625}"/>
              </a:ext>
            </a:extLst>
          </p:cNvPr>
          <p:cNvSpPr txBox="1"/>
          <p:nvPr/>
        </p:nvSpPr>
        <p:spPr>
          <a:xfrm>
            <a:off x="919608" y="8299739"/>
            <a:ext cx="5919009" cy="123101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Flooding could damage homes, farmland, and infrastructure.</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High water flow could disrupt aquatic habitats, affecting fish and other wildlife.</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Contaminants or debris could be washed downstream, harming water quality</a:t>
            </a:r>
            <a:r>
              <a:rPr lang="en-US" sz="1200" dirty="0">
                <a:latin typeface="Sofia Sans" panose="020B0604020202020204" charset="0"/>
              </a:rPr>
              <a:t>.</a:t>
            </a:r>
          </a:p>
        </p:txBody>
      </p:sp>
      <p:sp>
        <p:nvSpPr>
          <p:cNvPr id="4" name="Textfeld 11">
            <a:extLst>
              <a:ext uri="{FF2B5EF4-FFF2-40B4-BE49-F238E27FC236}">
                <a16:creationId xmlns:a16="http://schemas.microsoft.com/office/drawing/2014/main" id="{DE8923FD-3485-7A63-3C35-9F870EBB5BCD}"/>
              </a:ext>
            </a:extLst>
          </p:cNvPr>
          <p:cNvSpPr txBox="1"/>
          <p:nvPr/>
        </p:nvSpPr>
        <p:spPr>
          <a:xfrm>
            <a:off x="922226" y="3954488"/>
            <a:ext cx="5919009" cy="149947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Yes, but with limitations. Excess water can overwhelm the system, forcing operators to open for example spillways and release water without using it for energy production.</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High flow might also damage turbines or other infrastructure if not managed properly.</a:t>
            </a:r>
          </a:p>
        </p:txBody>
      </p:sp>
      <p:sp>
        <p:nvSpPr>
          <p:cNvPr id="5" name="Textfeld 11">
            <a:extLst>
              <a:ext uri="{FF2B5EF4-FFF2-40B4-BE49-F238E27FC236}">
                <a16:creationId xmlns:a16="http://schemas.microsoft.com/office/drawing/2014/main" id="{8BF1FF6B-C3EB-ACE5-E943-B1DB84BD6BD2}"/>
              </a:ext>
            </a:extLst>
          </p:cNvPr>
          <p:cNvSpPr txBox="1"/>
          <p:nvPr/>
        </p:nvSpPr>
        <p:spPr>
          <a:xfrm>
            <a:off x="922226" y="6061280"/>
            <a:ext cx="5919009" cy="163114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Open spillways gradually to release water in a controlled manner, preventing dam overflow.</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Use the opportunity to generate as much energy as possible without exceeding safe operational limits.</a:t>
            </a:r>
          </a:p>
          <a:p>
            <a:pPr marL="311150" indent="-171450">
              <a:buClr>
                <a:schemeClr val="accent5"/>
              </a:buClr>
              <a:buFont typeface="Arial" panose="020B0604020202020204" pitchFamily="34" charset="0"/>
              <a:buChar char="•"/>
            </a:pPr>
            <a:r>
              <a:rPr lang="en-US" sz="1200" dirty="0">
                <a:solidFill>
                  <a:srgbClr val="FF0000"/>
                </a:solidFill>
                <a:latin typeface="Sofia Sans" panose="020B0604020202020204" charset="0"/>
              </a:rPr>
              <a:t>Coordinate with downstream areas to prepare for potential flooding.</a:t>
            </a:r>
          </a:p>
        </p:txBody>
      </p:sp>
      <p:pic>
        <p:nvPicPr>
          <p:cNvPr id="6" name="Grafik 5" descr="Ein Bild, das Schwarz, Dunkelheit enthält.&#10;&#10;Automatisch generierte Beschreibung">
            <a:extLst>
              <a:ext uri="{FF2B5EF4-FFF2-40B4-BE49-F238E27FC236}">
                <a16:creationId xmlns:a16="http://schemas.microsoft.com/office/drawing/2014/main" id="{9734EAD9-6819-87AD-67FB-5CA2FF309E18}"/>
              </a:ext>
            </a:extLst>
          </p:cNvPr>
          <p:cNvPicPr>
            <a:picLocks noChangeAspect="1"/>
          </p:cNvPicPr>
          <p:nvPr/>
        </p:nvPicPr>
        <p:blipFill>
          <a:blip r:embed="rId2"/>
          <a:stretch>
            <a:fillRect/>
          </a:stretch>
        </p:blipFill>
        <p:spPr>
          <a:xfrm>
            <a:off x="5338763" y="1337290"/>
            <a:ext cx="718577" cy="718577"/>
          </a:xfrm>
          <a:prstGeom prst="rect">
            <a:avLst/>
          </a:prstGeom>
        </p:spPr>
      </p:pic>
      <p:sp>
        <p:nvSpPr>
          <p:cNvPr id="2" name="Untertitel 3">
            <a:extLst>
              <a:ext uri="{FF2B5EF4-FFF2-40B4-BE49-F238E27FC236}">
                <a16:creationId xmlns:a16="http://schemas.microsoft.com/office/drawing/2014/main" id="{3CBA8415-8AC2-B6EF-DFC7-4E4728FEC718}"/>
              </a:ext>
            </a:extLst>
          </p:cNvPr>
          <p:cNvSpPr txBox="1">
            <a:spLocks/>
          </p:cNvSpPr>
          <p:nvPr/>
        </p:nvSpPr>
        <p:spPr>
          <a:xfrm>
            <a:off x="719138" y="1651218"/>
            <a:ext cx="6122097" cy="20586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u="sng">
                <a:solidFill>
                  <a:srgbClr val="3B5775"/>
                </a:solidFill>
              </a:rPr>
              <a:t>Scenario 3: Heavy Rainfall</a:t>
            </a:r>
          </a:p>
          <a:p>
            <a:endParaRPr lang="en-US" sz="1200" b="1"/>
          </a:p>
          <a:p>
            <a:r>
              <a:rPr lang="en-US" sz="1200" b="1">
                <a:solidFill>
                  <a:schemeClr val="accent5"/>
                </a:solidFill>
              </a:rPr>
              <a:t>Description</a:t>
            </a:r>
            <a:r>
              <a:rPr lang="en-US" sz="1200"/>
              <a:t>:</a:t>
            </a:r>
          </a:p>
          <a:p>
            <a:r>
              <a:rPr lang="en-US" sz="1200"/>
              <a:t>Monsoon-like rains cause a sudden surge in the river’s water level. The reservoir is at risk </a:t>
            </a:r>
          </a:p>
          <a:p>
            <a:r>
              <a:rPr lang="en-US" sz="1200"/>
              <a:t>of overflowing, and downstream areas may face flooding.</a:t>
            </a:r>
          </a:p>
          <a:p>
            <a:endParaRPr lang="en-US" sz="1200" b="1"/>
          </a:p>
          <a:p>
            <a:r>
              <a:rPr lang="en-US" sz="1200" b="1">
                <a:solidFill>
                  <a:schemeClr val="accent5"/>
                </a:solidFill>
              </a:rPr>
              <a:t>Questions</a:t>
            </a:r>
            <a:r>
              <a:rPr lang="en-US" sz="1200"/>
              <a:t>:</a:t>
            </a:r>
          </a:p>
          <a:p>
            <a:endParaRPr lang="en-US" sz="1200"/>
          </a:p>
          <a:p>
            <a:pPr marL="139700" indent="0"/>
            <a:r>
              <a:rPr lang="en-US" sz="1200" b="1"/>
              <a:t>1. Can electricity still be produced effectively when water levels are too high? Why or why not?</a:t>
            </a:r>
          </a:p>
        </p:txBody>
      </p:sp>
      <p:sp>
        <p:nvSpPr>
          <p:cNvPr id="7" name="Untertitel 5">
            <a:extLst>
              <a:ext uri="{FF2B5EF4-FFF2-40B4-BE49-F238E27FC236}">
                <a16:creationId xmlns:a16="http://schemas.microsoft.com/office/drawing/2014/main" id="{747DF5A8-078C-49C5-B72B-E434E17F6B21}"/>
              </a:ext>
            </a:extLst>
          </p:cNvPr>
          <p:cNvSpPr txBox="1">
            <a:spLocks/>
          </p:cNvSpPr>
          <p:nvPr/>
        </p:nvSpPr>
        <p:spPr>
          <a:xfrm>
            <a:off x="738608" y="1277938"/>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4</a:t>
            </a:r>
          </a:p>
        </p:txBody>
      </p:sp>
      <p:sp>
        <p:nvSpPr>
          <p:cNvPr id="8" name="Untertitel 3">
            <a:extLst>
              <a:ext uri="{FF2B5EF4-FFF2-40B4-BE49-F238E27FC236}">
                <a16:creationId xmlns:a16="http://schemas.microsoft.com/office/drawing/2014/main" id="{12209B3A-B677-7245-E7AE-20344E78BF52}"/>
              </a:ext>
            </a:extLst>
          </p:cNvPr>
          <p:cNvSpPr txBox="1">
            <a:spLocks/>
          </p:cNvSpPr>
          <p:nvPr/>
        </p:nvSpPr>
        <p:spPr>
          <a:xfrm>
            <a:off x="738608" y="5557559"/>
            <a:ext cx="6122097" cy="4001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2. What strategies could the power plant use to manage the excess water?</a:t>
            </a:r>
          </a:p>
        </p:txBody>
      </p:sp>
      <p:sp>
        <p:nvSpPr>
          <p:cNvPr id="11" name="Untertitel 3">
            <a:extLst>
              <a:ext uri="{FF2B5EF4-FFF2-40B4-BE49-F238E27FC236}">
                <a16:creationId xmlns:a16="http://schemas.microsoft.com/office/drawing/2014/main" id="{29176ADC-2FED-6A31-E8E5-EDB475B73904}"/>
              </a:ext>
            </a:extLst>
          </p:cNvPr>
          <p:cNvSpPr txBox="1">
            <a:spLocks/>
          </p:cNvSpPr>
          <p:nvPr/>
        </p:nvSpPr>
        <p:spPr>
          <a:xfrm>
            <a:off x="716520" y="7796018"/>
            <a:ext cx="6122097" cy="4001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3. How could this scenario impact communities and ecosystems downstream?</a:t>
            </a:r>
          </a:p>
        </p:txBody>
      </p:sp>
    </p:spTree>
    <p:extLst>
      <p:ext uri="{BB962C8B-B14F-4D97-AF65-F5344CB8AC3E}">
        <p14:creationId xmlns:p14="http://schemas.microsoft.com/office/powerpoint/2010/main" val="3660786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83C659-69AB-762B-636C-EF30E13F66DE}"/>
              </a:ext>
            </a:extLst>
          </p:cNvPr>
          <p:cNvGraphicFramePr>
            <a:graphicFrameLocks noChangeAspect="1"/>
          </p:cNvGraphicFramePr>
          <p:nvPr>
            <p:custDataLst>
              <p:tags r:id="rId1"/>
            </p:custDataLst>
            <p:extLst>
              <p:ext uri="{D42A27DB-BD31-4B8C-83A1-F6EECF244321}">
                <p14:modId xmlns:p14="http://schemas.microsoft.com/office/powerpoint/2010/main" val="16913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7B83C659-69AB-762B-636C-EF30E13F6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de-DE" smtClean="0"/>
              <a:t>2</a:t>
            </a:fld>
            <a:endParaRPr lang="de-DE"/>
          </a:p>
        </p:txBody>
      </p:sp>
      <p:sp>
        <p:nvSpPr>
          <p:cNvPr id="6" name="Titel 1">
            <a:extLst>
              <a:ext uri="{FF2B5EF4-FFF2-40B4-BE49-F238E27FC236}">
                <a16:creationId xmlns:a16="http://schemas.microsoft.com/office/drawing/2014/main" id="{F7697B48-98C7-2D4D-028F-20A8A01892B8}"/>
              </a:ext>
            </a:extLst>
          </p:cNvPr>
          <p:cNvSpPr>
            <a:spLocks noGrp="1"/>
          </p:cNvSpPr>
          <p:nvPr>
            <p:ph type="title"/>
          </p:nvPr>
        </p:nvSpPr>
        <p:spPr>
          <a:xfrm>
            <a:off x="719138" y="1277937"/>
            <a:ext cx="6245287" cy="363231"/>
          </a:xfrm>
        </p:spPr>
        <p:txBody>
          <a:bodyPr vert="horz"/>
          <a:lstStyle/>
          <a:p>
            <a:r>
              <a:rPr lang="en-AU">
                <a:solidFill>
                  <a:srgbClr val="3B5775"/>
                </a:solidFill>
              </a:rPr>
              <a:t>Introduction</a:t>
            </a:r>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09546" y="2020098"/>
            <a:ext cx="6254879" cy="81740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spcAft>
                <a:spcPts val="600"/>
              </a:spcAft>
            </a:pPr>
            <a:r>
              <a:rPr lang="en-US" sz="1500" b="1">
                <a:solidFill>
                  <a:srgbClr val="3B5775"/>
                </a:solidFill>
                <a:latin typeface="Epilogue" panose="020B0604020202020204" charset="0"/>
                <a:cs typeface="Epilogue" panose="020B0604020202020204" charset="0"/>
              </a:rPr>
              <a:t>Welcome to the World of Hydropower!</a:t>
            </a:r>
            <a:endParaRPr lang="en-US" sz="1500">
              <a:solidFill>
                <a:srgbClr val="3B5775"/>
              </a:solidFill>
              <a:latin typeface="Epilogue" panose="020B0604020202020204" charset="0"/>
              <a:cs typeface="Epilogue" panose="020B0604020202020204" charset="0"/>
            </a:endParaRPr>
          </a:p>
          <a:p>
            <a:pPr>
              <a:lnSpc>
                <a:spcPct val="114999"/>
              </a:lnSpc>
            </a:pPr>
            <a:r>
              <a:rPr lang="en-US" sz="1150">
                <a:solidFill>
                  <a:srgbClr val="000000"/>
                </a:solidFill>
              </a:rPr>
              <a:t>Picture yourself utilizing the power of water. Hydropower achieves this by using turbines to</a:t>
            </a:r>
          </a:p>
          <a:p>
            <a:pPr>
              <a:lnSpc>
                <a:spcPct val="114999"/>
              </a:lnSpc>
            </a:pPr>
            <a:r>
              <a:rPr lang="en-US" sz="1150">
                <a:solidFill>
                  <a:srgbClr val="000000"/>
                </a:solidFill>
              </a:rPr>
              <a:t>harness water’s energy to produce electricity. As a renewable and eco-friendly energy source,</a:t>
            </a:r>
          </a:p>
          <a:p>
            <a:pPr>
              <a:lnSpc>
                <a:spcPct val="114999"/>
              </a:lnSpc>
            </a:pPr>
            <a:r>
              <a:rPr lang="en-US" sz="1150">
                <a:solidFill>
                  <a:srgbClr val="000000"/>
                </a:solidFill>
              </a:rPr>
              <a:t>hydropower offers a sustainable way to meet electricity demands. In this workbook, you’ll</a:t>
            </a:r>
          </a:p>
          <a:p>
            <a:pPr>
              <a:lnSpc>
                <a:spcPct val="114999"/>
              </a:lnSpc>
            </a:pPr>
            <a:r>
              <a:rPr lang="en-US" sz="1150">
                <a:solidFill>
                  <a:srgbClr val="000000"/>
                </a:solidFill>
              </a:rPr>
              <a:t>uncover the fascinating workings of hydropower, examine its manifold benefits, and evaluate</a:t>
            </a:r>
          </a:p>
          <a:p>
            <a:pPr>
              <a:lnSpc>
                <a:spcPct val="114999"/>
              </a:lnSpc>
            </a:pPr>
            <a:r>
              <a:rPr lang="en-US" sz="1150">
                <a:solidFill>
                  <a:srgbClr val="000000"/>
                </a:solidFill>
              </a:rPr>
              <a:t>its role in revolutionizing the future of energy.</a:t>
            </a:r>
          </a:p>
          <a:p>
            <a:pPr algn="just">
              <a:lnSpc>
                <a:spcPct val="114999"/>
              </a:lnSpc>
            </a:pPr>
            <a:endParaRPr lang="en-US" sz="1150"/>
          </a:p>
          <a:p>
            <a:pPr algn="just">
              <a:lnSpc>
                <a:spcPct val="114999"/>
              </a:lnSpc>
              <a:spcAft>
                <a:spcPts val="600"/>
              </a:spcAft>
            </a:pPr>
            <a:r>
              <a:rPr lang="en-US" sz="1500" b="1">
                <a:solidFill>
                  <a:srgbClr val="3B5775"/>
                </a:solidFill>
                <a:latin typeface="Epilogue" panose="020B0604020202020204" charset="0"/>
                <a:cs typeface="Epilogue" panose="020B0604020202020204" charset="0"/>
              </a:rPr>
              <a:t>Why Study Hydropower?</a:t>
            </a:r>
          </a:p>
          <a:p>
            <a:pPr>
              <a:lnSpc>
                <a:spcPct val="114999"/>
              </a:lnSpc>
            </a:pPr>
            <a:r>
              <a:rPr lang="en-US" sz="1150">
                <a:solidFill>
                  <a:srgbClr val="000000"/>
                </a:solidFill>
              </a:rPr>
              <a:t>With the challenges of global warming and finite fossil fuel resources, hydropower plays a</a:t>
            </a:r>
          </a:p>
          <a:p>
            <a:pPr>
              <a:lnSpc>
                <a:spcPct val="114999"/>
              </a:lnSpc>
            </a:pPr>
            <a:r>
              <a:rPr lang="en-US" sz="1150">
                <a:solidFill>
                  <a:srgbClr val="000000"/>
                </a:solidFill>
              </a:rPr>
              <a:t>crucial role in producing renewable energy. Hence, hydropower is considered a sustainable</a:t>
            </a:r>
          </a:p>
          <a:p>
            <a:pPr>
              <a:lnSpc>
                <a:spcPct val="114999"/>
              </a:lnSpc>
            </a:pPr>
            <a:r>
              <a:rPr lang="en-US" sz="1150">
                <a:solidFill>
                  <a:srgbClr val="000000"/>
                </a:solidFill>
              </a:rPr>
              <a:t>technology that reduces greenhouse gas emissions and promotes an eco-friendly way of</a:t>
            </a:r>
          </a:p>
          <a:p>
            <a:pPr>
              <a:lnSpc>
                <a:spcPct val="114999"/>
              </a:lnSpc>
            </a:pPr>
            <a:r>
              <a:rPr lang="en-US" sz="1150">
                <a:solidFill>
                  <a:srgbClr val="000000"/>
                </a:solidFill>
              </a:rPr>
              <a:t>living. Additionally, understanding hydropower in more depth allows us to answer questions</a:t>
            </a:r>
          </a:p>
          <a:p>
            <a:pPr>
              <a:lnSpc>
                <a:spcPct val="114999"/>
              </a:lnSpc>
            </a:pPr>
            <a:r>
              <a:rPr lang="en-US" sz="1150">
                <a:solidFill>
                  <a:srgbClr val="000000"/>
                </a:solidFill>
              </a:rPr>
              <a:t>like how it can be used to protect aquatic ecosystems, and how it offers a reliable energy</a:t>
            </a:r>
          </a:p>
          <a:p>
            <a:pPr>
              <a:lnSpc>
                <a:spcPct val="114999"/>
              </a:lnSpc>
            </a:pPr>
            <a:r>
              <a:rPr lang="en-US" sz="1150">
                <a:solidFill>
                  <a:srgbClr val="000000"/>
                </a:solidFill>
              </a:rPr>
              <a:t>supply, unlike some other renewable energy sources. All in all, you'll gain essential knowledge</a:t>
            </a:r>
          </a:p>
          <a:p>
            <a:pPr>
              <a:lnSpc>
                <a:spcPct val="114999"/>
              </a:lnSpc>
            </a:pPr>
            <a:r>
              <a:rPr lang="en-US" sz="1150">
                <a:solidFill>
                  <a:srgbClr val="000000"/>
                </a:solidFill>
              </a:rPr>
              <a:t>and skills that contribute to energy security, sustainability, and the future of our planet</a:t>
            </a:r>
          </a:p>
          <a:p>
            <a:pPr>
              <a:lnSpc>
                <a:spcPct val="114999"/>
              </a:lnSpc>
            </a:pPr>
            <a:endParaRPr lang="en-US" sz="1150">
              <a:solidFill>
                <a:srgbClr val="000000"/>
              </a:solidFill>
            </a:endParaRPr>
          </a:p>
          <a:p>
            <a:pPr>
              <a:lnSpc>
                <a:spcPct val="114999"/>
              </a:lnSpc>
              <a:spcAft>
                <a:spcPts val="600"/>
              </a:spcAft>
            </a:pPr>
            <a:r>
              <a:rPr lang="en-US" sz="1500" b="1">
                <a:solidFill>
                  <a:srgbClr val="3B5775"/>
                </a:solidFill>
                <a:latin typeface="Epilogue" panose="020B0604020202020204" charset="0"/>
                <a:cs typeface="Epilogue" panose="020B0604020202020204" charset="0"/>
              </a:rPr>
              <a:t>What Will You Learn?</a:t>
            </a:r>
            <a:endParaRPr lang="en-US" sz="1500">
              <a:solidFill>
                <a:srgbClr val="3B5775"/>
              </a:solidFill>
              <a:latin typeface="Epilogue" panose="020B0604020202020204" charset="0"/>
              <a:cs typeface="Epilogue" panose="020B0604020202020204" charset="0"/>
            </a:endParaRPr>
          </a:p>
          <a:p>
            <a:pPr>
              <a:lnSpc>
                <a:spcPct val="114999"/>
              </a:lnSpc>
            </a:pPr>
            <a:r>
              <a:rPr lang="en-US" sz="1150">
                <a:solidFill>
                  <a:srgbClr val="000000"/>
                </a:solidFill>
              </a:rPr>
              <a:t>In this workbook, you'll be taken along on an exciting journey through fascinating theory paired</a:t>
            </a:r>
          </a:p>
          <a:p>
            <a:pPr>
              <a:lnSpc>
                <a:spcPct val="114999"/>
              </a:lnSpc>
            </a:pPr>
            <a:r>
              <a:rPr lang="en-US" sz="1150">
                <a:solidFill>
                  <a:srgbClr val="000000"/>
                </a:solidFill>
              </a:rPr>
              <a:t>with hands-on science and experiments of hydropower. Here are some of the key topics we’ll</a:t>
            </a:r>
          </a:p>
          <a:p>
            <a:pPr>
              <a:lnSpc>
                <a:spcPct val="114999"/>
              </a:lnSpc>
            </a:pPr>
            <a:r>
              <a:rPr lang="en-US" sz="1150">
                <a:solidFill>
                  <a:srgbClr val="000000"/>
                </a:solidFill>
              </a:rPr>
              <a:t>cover:</a:t>
            </a:r>
          </a:p>
          <a:p>
            <a:pPr>
              <a:lnSpc>
                <a:spcPct val="114999"/>
              </a:lnSpc>
            </a:pPr>
            <a:endParaRPr lang="en-US" sz="1150">
              <a:solidFill>
                <a:srgbClr val="000000"/>
              </a:solidFill>
            </a:endParaRPr>
          </a:p>
          <a:p>
            <a:pPr marL="360000" indent="-171450">
              <a:lnSpc>
                <a:spcPct val="114999"/>
              </a:lnSpc>
              <a:buClr>
                <a:schemeClr val="accent5"/>
              </a:buClr>
              <a:buFont typeface="Arial" panose="020B0604020202020204" pitchFamily="34" charset="0"/>
              <a:buChar char="•"/>
            </a:pPr>
            <a:r>
              <a:rPr lang="en-US" sz="1150">
                <a:solidFill>
                  <a:srgbClr val="000000"/>
                </a:solidFill>
              </a:rPr>
              <a:t>Hydropower Basics: Learn what hydro energy is, where it can be found and how it can be harnessed effectively in various environments.</a:t>
            </a:r>
          </a:p>
          <a:p>
            <a:pPr marL="360000" indent="-171450">
              <a:lnSpc>
                <a:spcPct val="114999"/>
              </a:lnSpc>
              <a:buClr>
                <a:schemeClr val="accent5"/>
              </a:buClr>
              <a:buFont typeface="Arial" panose="020B0604020202020204" pitchFamily="34" charset="0"/>
              <a:buChar char="•"/>
            </a:pPr>
            <a:r>
              <a:rPr lang="en-US" sz="1150">
                <a:solidFill>
                  <a:srgbClr val="000000"/>
                </a:solidFill>
              </a:rPr>
              <a:t>Discover how a water wheel works, understand its mechanics and explore techniques to optimize its efficiency. </a:t>
            </a:r>
          </a:p>
          <a:p>
            <a:pPr marL="360000" indent="-171450">
              <a:lnSpc>
                <a:spcPct val="114999"/>
              </a:lnSpc>
              <a:buClr>
                <a:schemeClr val="accent5"/>
              </a:buClr>
              <a:buFont typeface="Arial" panose="020B0604020202020204" pitchFamily="34" charset="0"/>
              <a:buChar char="•"/>
            </a:pPr>
            <a:r>
              <a:rPr lang="en-US" sz="1150">
                <a:solidFill>
                  <a:srgbClr val="000000"/>
                </a:solidFill>
              </a:rPr>
              <a:t>Dive into the world of modern turbines and how they revolutionize the harnessing of water’s energy.</a:t>
            </a:r>
          </a:p>
          <a:p>
            <a:pPr marL="360000" indent="-171450">
              <a:lnSpc>
                <a:spcPct val="114999"/>
              </a:lnSpc>
              <a:buClr>
                <a:schemeClr val="accent5"/>
              </a:buClr>
              <a:buFont typeface="Arial" panose="020B0604020202020204" pitchFamily="34" charset="0"/>
              <a:buChar char="•"/>
            </a:pPr>
            <a:r>
              <a:rPr lang="en-US" sz="1150">
                <a:solidFill>
                  <a:srgbClr val="000000"/>
                </a:solidFill>
              </a:rPr>
              <a:t>Gain in-depth knowledge about water behavior and learn how cutting-edge turbines are designed to manage and maximize energy from water streams.</a:t>
            </a:r>
          </a:p>
          <a:p>
            <a:pPr marL="360000" indent="-171450">
              <a:lnSpc>
                <a:spcPct val="114999"/>
              </a:lnSpc>
              <a:buClr>
                <a:schemeClr val="accent5"/>
              </a:buClr>
              <a:buFont typeface="Arial" panose="020B0604020202020204" pitchFamily="34" charset="0"/>
              <a:buChar char="•"/>
            </a:pPr>
            <a:r>
              <a:rPr lang="en-US" sz="1150">
                <a:solidFill>
                  <a:srgbClr val="000000"/>
                </a:solidFill>
              </a:rPr>
              <a:t>Comparison of Renewable Energies: Examine the three most important renewable energy sources and how they differ in energy production capabilities.</a:t>
            </a:r>
          </a:p>
          <a:p>
            <a:pPr marL="360000" indent="-171450">
              <a:lnSpc>
                <a:spcPct val="114999"/>
              </a:lnSpc>
              <a:buClr>
                <a:schemeClr val="accent5"/>
              </a:buClr>
              <a:buFont typeface="Arial" panose="020B0604020202020204" pitchFamily="34" charset="0"/>
              <a:buChar char="•"/>
            </a:pPr>
            <a:r>
              <a:rPr lang="en-US" sz="1150">
                <a:solidFill>
                  <a:srgbClr val="000000"/>
                </a:solidFill>
              </a:rPr>
              <a:t>Understand these critical concepts of Base Load vs. Peak Load and explore strategies to manage variations in energy demand and supply within the grid.</a:t>
            </a:r>
          </a:p>
          <a:p>
            <a:pPr marL="285750" indent="-285750">
              <a:lnSpc>
                <a:spcPct val="114999"/>
              </a:lnSpc>
              <a:buFont typeface="Aptos"/>
              <a:buChar char="•"/>
            </a:pPr>
            <a:endParaRPr lang="en-US" sz="1150">
              <a:solidFill>
                <a:srgbClr val="000000"/>
              </a:solidFill>
            </a:endParaRPr>
          </a:p>
          <a:p>
            <a:pPr>
              <a:lnSpc>
                <a:spcPct val="114999"/>
              </a:lnSpc>
              <a:buSzPts val="1800"/>
            </a:pPr>
            <a:endParaRPr lang="en-US" sz="1150" b="1">
              <a:solidFill>
                <a:srgbClr val="333333"/>
              </a:solidFill>
            </a:endParaRPr>
          </a:p>
        </p:txBody>
      </p:sp>
      <p:pic>
        <p:nvPicPr>
          <p:cNvPr id="3" name="Grafik 2" descr="Ein Bild, das Karte, Text, Kreis, Logo enthält.&#10;&#10;KI-generierte Inhalte können fehlerhaft sein.">
            <a:extLst>
              <a:ext uri="{FF2B5EF4-FFF2-40B4-BE49-F238E27FC236}">
                <a16:creationId xmlns:a16="http://schemas.microsoft.com/office/drawing/2014/main" id="{9259CA8C-D9D4-076F-E2F6-780321998869}"/>
              </a:ext>
            </a:extLst>
          </p:cNvPr>
          <p:cNvPicPr>
            <a:picLocks noChangeAspect="1"/>
          </p:cNvPicPr>
          <p:nvPr/>
        </p:nvPicPr>
        <p:blipFill>
          <a:blip r:embed="rId5"/>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1608053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234FB-6D15-A4EA-95AB-1E945E39BC71}"/>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8951DD5-D866-84BC-945A-60E4ED998D43}"/>
              </a:ext>
            </a:extLst>
          </p:cNvPr>
          <p:cNvSpPr>
            <a:spLocks noGrp="1"/>
          </p:cNvSpPr>
          <p:nvPr>
            <p:ph type="sldNum" sz="quarter" idx="16"/>
          </p:nvPr>
        </p:nvSpPr>
        <p:spPr/>
        <p:txBody>
          <a:bodyPr/>
          <a:lstStyle/>
          <a:p>
            <a:fld id="{DF7F771E-9578-4C04-B869-01AF4C35C90C}" type="slidenum">
              <a:rPr lang="de-DE" smtClean="0"/>
              <a:t>20</a:t>
            </a:fld>
            <a:endParaRPr lang="de-DE"/>
          </a:p>
        </p:txBody>
      </p:sp>
      <p:pic>
        <p:nvPicPr>
          <p:cNvPr id="23" name="Grafik 22" descr="Skizze mit einfarbiger Füllung">
            <a:extLst>
              <a:ext uri="{FF2B5EF4-FFF2-40B4-BE49-F238E27FC236}">
                <a16:creationId xmlns:a16="http://schemas.microsoft.com/office/drawing/2014/main" id="{6C4A48B8-F8EE-C3E3-0F9D-F9C9904E26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4049" y="1839331"/>
            <a:ext cx="379044" cy="379044"/>
          </a:xfrm>
          <a:prstGeom prst="rect">
            <a:avLst/>
          </a:prstGeom>
        </p:spPr>
      </p:pic>
      <p:sp>
        <p:nvSpPr>
          <p:cNvPr id="3" name="Rechteck 1">
            <a:extLst>
              <a:ext uri="{FF2B5EF4-FFF2-40B4-BE49-F238E27FC236}">
                <a16:creationId xmlns:a16="http://schemas.microsoft.com/office/drawing/2014/main" id="{10BA37DD-66BB-A297-795B-271FCE6C4141}"/>
              </a:ext>
            </a:extLst>
          </p:cNvPr>
          <p:cNvSpPr/>
          <p:nvPr/>
        </p:nvSpPr>
        <p:spPr>
          <a:xfrm>
            <a:off x="719138" y="1578381"/>
            <a:ext cx="5740172" cy="3826535"/>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Ellipse 2">
            <a:extLst>
              <a:ext uri="{FF2B5EF4-FFF2-40B4-BE49-F238E27FC236}">
                <a16:creationId xmlns:a16="http://schemas.microsoft.com/office/drawing/2014/main" id="{138738AE-989E-5E3A-FEE5-8E992A4CFB65}"/>
              </a:ext>
            </a:extLst>
          </p:cNvPr>
          <p:cNvSpPr>
            <a:spLocks noChangeAspect="1"/>
          </p:cNvSpPr>
          <p:nvPr/>
        </p:nvSpPr>
        <p:spPr>
          <a:xfrm>
            <a:off x="6128978" y="1259672"/>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19" descr="Lesezeichen mit einfarbiger Füllung">
            <a:extLst>
              <a:ext uri="{FF2B5EF4-FFF2-40B4-BE49-F238E27FC236}">
                <a16:creationId xmlns:a16="http://schemas.microsoft.com/office/drawing/2014/main" id="{620AF5E0-51CB-CEFF-25D9-381313B2EF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6825" y="1387519"/>
            <a:ext cx="404450" cy="404450"/>
          </a:xfrm>
          <a:prstGeom prst="rect">
            <a:avLst/>
          </a:prstGeom>
        </p:spPr>
      </p:pic>
      <p:sp>
        <p:nvSpPr>
          <p:cNvPr id="6" name="Untertitel 5">
            <a:extLst>
              <a:ext uri="{FF2B5EF4-FFF2-40B4-BE49-F238E27FC236}">
                <a16:creationId xmlns:a16="http://schemas.microsoft.com/office/drawing/2014/main" id="{D7100ADA-4E37-DCF5-DFC2-94A2F7ACFA8F}"/>
              </a:ext>
            </a:extLst>
          </p:cNvPr>
          <p:cNvSpPr txBox="1">
            <a:spLocks/>
          </p:cNvSpPr>
          <p:nvPr/>
        </p:nvSpPr>
        <p:spPr>
          <a:xfrm>
            <a:off x="894164" y="1678007"/>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7" name="Untertitel 2">
            <a:extLst>
              <a:ext uri="{FF2B5EF4-FFF2-40B4-BE49-F238E27FC236}">
                <a16:creationId xmlns:a16="http://schemas.microsoft.com/office/drawing/2014/main" id="{C16A0070-1C3D-1789-D623-DCEFD2A3ED1B}"/>
              </a:ext>
            </a:extLst>
          </p:cNvPr>
          <p:cNvSpPr>
            <a:spLocks noGrp="1"/>
          </p:cNvSpPr>
          <p:nvPr>
            <p:ph type="subTitle" idx="1"/>
          </p:nvPr>
        </p:nvSpPr>
        <p:spPr>
          <a:xfrm>
            <a:off x="974845" y="2067288"/>
            <a:ext cx="5281980" cy="3030448"/>
          </a:xfrm>
        </p:spPr>
        <p:txBody>
          <a:bodyPr/>
          <a:lstStyle/>
          <a:p>
            <a:pPr>
              <a:lnSpc>
                <a:spcPct val="150000"/>
              </a:lnSpc>
              <a:buClr>
                <a:schemeClr val="accent5"/>
              </a:buClr>
              <a:buFont typeface="Arial" panose="020B0604020202020204" pitchFamily="34" charset="0"/>
              <a:buChar char="•"/>
            </a:pPr>
            <a:r>
              <a:rPr lang="en-US" sz="1200" b="1"/>
              <a:t>Rivers</a:t>
            </a:r>
            <a:r>
              <a:rPr lang="en-US" sz="1200"/>
              <a:t> are a vital source of Hydro-Energy, providing the continuous water flow needed to power turbines and generate electricity.</a:t>
            </a:r>
          </a:p>
          <a:p>
            <a:pPr>
              <a:lnSpc>
                <a:spcPct val="150000"/>
              </a:lnSpc>
              <a:buClr>
                <a:schemeClr val="accent5"/>
              </a:buClr>
              <a:buFont typeface="Arial" panose="020B0604020202020204" pitchFamily="34" charset="0"/>
              <a:buChar char="•"/>
            </a:pPr>
            <a:r>
              <a:rPr lang="en-US" sz="1200" b="1"/>
              <a:t>Seasonal variations</a:t>
            </a:r>
            <a:r>
              <a:rPr lang="en-US" sz="1200"/>
              <a:t> significantly impact river flow:</a:t>
            </a:r>
          </a:p>
          <a:p>
            <a:pPr lvl="1" algn="l">
              <a:lnSpc>
                <a:spcPct val="150000"/>
              </a:lnSpc>
              <a:buClr>
                <a:schemeClr val="accent5"/>
              </a:buClr>
              <a:buFont typeface="Arial" panose="020B0604020202020204" pitchFamily="34" charset="0"/>
              <a:buChar char="•"/>
            </a:pPr>
            <a:r>
              <a:rPr lang="en-US" sz="1200" b="1"/>
              <a:t>Rainy Season:</a:t>
            </a:r>
            <a:r>
              <a:rPr lang="en-US" sz="1200"/>
              <a:t> Higher water levels increase energy production.</a:t>
            </a:r>
          </a:p>
          <a:p>
            <a:pPr lvl="1" algn="l">
              <a:lnSpc>
                <a:spcPct val="150000"/>
              </a:lnSpc>
              <a:buClr>
                <a:schemeClr val="accent5"/>
              </a:buClr>
              <a:buFont typeface="Arial" panose="020B0604020202020204" pitchFamily="34" charset="0"/>
              <a:buChar char="•"/>
            </a:pPr>
            <a:r>
              <a:rPr lang="en-US" sz="1200" b="1"/>
              <a:t>Dry Season:</a:t>
            </a:r>
            <a:r>
              <a:rPr lang="en-US" sz="1200"/>
              <a:t> Lower flow reduces energy output.</a:t>
            </a:r>
          </a:p>
          <a:p>
            <a:pPr marL="457200" lvl="1" algn="l">
              <a:lnSpc>
                <a:spcPct val="150000"/>
              </a:lnSpc>
              <a:buClr>
                <a:schemeClr val="accent5"/>
              </a:buClr>
              <a:buFont typeface="Arial" panose="020B0604020202020204" pitchFamily="34" charset="0"/>
              <a:buChar char="•"/>
            </a:pPr>
            <a:r>
              <a:rPr lang="en-US" sz="1200"/>
              <a:t>Dams help regulate river flow to ensure consistent energy generation but may require careful management to mitigate environmental and community impacts.</a:t>
            </a:r>
          </a:p>
          <a:p>
            <a:pPr marL="457200" lvl="1" algn="l">
              <a:lnSpc>
                <a:spcPct val="150000"/>
              </a:lnSpc>
              <a:buClr>
                <a:schemeClr val="accent5"/>
              </a:buClr>
              <a:buFont typeface="Arial" panose="020B0604020202020204" pitchFamily="34" charset="0"/>
              <a:buChar char="•"/>
            </a:pPr>
            <a:r>
              <a:rPr lang="en-US" sz="1200"/>
              <a:t>Rivers are widely available, renewable, and capable of properly managing reliable energy, making them a key component of Hydro-Energy systems.</a:t>
            </a:r>
          </a:p>
          <a:p>
            <a:pPr>
              <a:buFont typeface="Arial" panose="020B0604020202020204" pitchFamily="34" charset="0"/>
              <a:buChar char="•"/>
            </a:pPr>
            <a:endParaRPr lang="en-US" sz="1200"/>
          </a:p>
          <a:p>
            <a:pPr>
              <a:buFont typeface="Arial" panose="020B0604020202020204" pitchFamily="34" charset="0"/>
              <a:buChar char="•"/>
            </a:pPr>
            <a:endParaRPr lang="en-US" sz="1200"/>
          </a:p>
        </p:txBody>
      </p:sp>
    </p:spTree>
    <p:extLst>
      <p:ext uri="{BB962C8B-B14F-4D97-AF65-F5344CB8AC3E}">
        <p14:creationId xmlns:p14="http://schemas.microsoft.com/office/powerpoint/2010/main" val="3455161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57C4-CB64-B285-084B-42C1994723A8}"/>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BCDCAB4-0035-78EB-CB5F-272491672410}"/>
              </a:ext>
            </a:extLst>
          </p:cNvPr>
          <p:cNvSpPr>
            <a:spLocks noGrp="1"/>
          </p:cNvSpPr>
          <p:nvPr>
            <p:ph type="sldNum" sz="quarter" idx="4"/>
          </p:nvPr>
        </p:nvSpPr>
        <p:spPr/>
        <p:txBody>
          <a:bodyPr/>
          <a:lstStyle/>
          <a:p>
            <a:fld id="{DF7F771E-9578-4C04-B869-01AF4C35C90C}" type="slidenum">
              <a:rPr lang="de-DE" smtClean="0"/>
              <a:t>21</a:t>
            </a:fld>
            <a:endParaRPr lang="de-DE"/>
          </a:p>
        </p:txBody>
      </p:sp>
      <p:sp>
        <p:nvSpPr>
          <p:cNvPr id="4" name="Titel 1">
            <a:extLst>
              <a:ext uri="{FF2B5EF4-FFF2-40B4-BE49-F238E27FC236}">
                <a16:creationId xmlns:a16="http://schemas.microsoft.com/office/drawing/2014/main" id="{24D4C443-29A6-58F4-790B-61CCC6693F43}"/>
              </a:ext>
            </a:extLst>
          </p:cNvPr>
          <p:cNvSpPr>
            <a:spLocks noGrp="1"/>
          </p:cNvSpPr>
          <p:nvPr>
            <p:ph type="title"/>
          </p:nvPr>
        </p:nvSpPr>
        <p:spPr>
          <a:xfrm>
            <a:off x="719138" y="1304197"/>
            <a:ext cx="6380336" cy="785628"/>
          </a:xfrm>
        </p:spPr>
        <p:txBody>
          <a:bodyPr/>
          <a:lstStyle/>
          <a:p>
            <a:r>
              <a:rPr lang="de-DE"/>
              <a:t>2. Oceans</a:t>
            </a:r>
          </a:p>
        </p:txBody>
      </p:sp>
      <p:sp>
        <p:nvSpPr>
          <p:cNvPr id="6" name="Untertitel 3">
            <a:extLst>
              <a:ext uri="{FF2B5EF4-FFF2-40B4-BE49-F238E27FC236}">
                <a16:creationId xmlns:a16="http://schemas.microsoft.com/office/drawing/2014/main" id="{5B133CFD-EA16-13A1-078A-DEA7AD263BFE}"/>
              </a:ext>
            </a:extLst>
          </p:cNvPr>
          <p:cNvSpPr txBox="1">
            <a:spLocks/>
          </p:cNvSpPr>
          <p:nvPr/>
        </p:nvSpPr>
        <p:spPr>
          <a:xfrm>
            <a:off x="719138" y="1960982"/>
            <a:ext cx="6230302" cy="8724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200">
                <a:solidFill>
                  <a:srgbClr val="000000"/>
                </a:solidFill>
              </a:rPr>
              <a:t>The target of this exercise is to explore how the motion of ocean water can be harnessed to produce renewable energy. You will investigate technologies like tidal and wave energy </a:t>
            </a:r>
          </a:p>
          <a:p>
            <a:pPr marL="144000" indent="0">
              <a:lnSpc>
                <a:spcPct val="114999"/>
              </a:lnSpc>
            </a:pPr>
            <a:r>
              <a:rPr lang="en-US" sz="1200">
                <a:solidFill>
                  <a:srgbClr val="000000"/>
                </a:solidFill>
              </a:rPr>
              <a:t>systems that transform this natural motion into sustainable power sources.</a:t>
            </a:r>
            <a:endParaRPr lang="de-DE" sz="1200">
              <a:solidFill>
                <a:srgbClr val="000000"/>
              </a:solidFill>
            </a:endParaRPr>
          </a:p>
        </p:txBody>
      </p:sp>
      <p:pic>
        <p:nvPicPr>
          <p:cNvPr id="31" name="Grafik 30" descr="Lupe mit einfarbiger Füllung">
            <a:extLst>
              <a:ext uri="{FF2B5EF4-FFF2-40B4-BE49-F238E27FC236}">
                <a16:creationId xmlns:a16="http://schemas.microsoft.com/office/drawing/2014/main" id="{94CB42FF-0FDD-4E0D-5B79-1244AF7743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8932" y="3240851"/>
            <a:ext cx="333865" cy="333865"/>
          </a:xfrm>
          <a:prstGeom prst="rect">
            <a:avLst/>
          </a:prstGeom>
        </p:spPr>
      </p:pic>
      <p:sp>
        <p:nvSpPr>
          <p:cNvPr id="2" name="Untertitel 5">
            <a:extLst>
              <a:ext uri="{FF2B5EF4-FFF2-40B4-BE49-F238E27FC236}">
                <a16:creationId xmlns:a16="http://schemas.microsoft.com/office/drawing/2014/main" id="{72DACDDE-F5FF-4B96-1A0B-3393F782267D}"/>
              </a:ext>
            </a:extLst>
          </p:cNvPr>
          <p:cNvSpPr txBox="1">
            <a:spLocks/>
          </p:cNvSpPr>
          <p:nvPr/>
        </p:nvSpPr>
        <p:spPr>
          <a:xfrm>
            <a:off x="1142660" y="2958276"/>
            <a:ext cx="11177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5" name="Ellipse 4">
            <a:extLst>
              <a:ext uri="{FF2B5EF4-FFF2-40B4-BE49-F238E27FC236}">
                <a16:creationId xmlns:a16="http://schemas.microsoft.com/office/drawing/2014/main" id="{671CE9C5-7E97-B42E-E823-ACE37E06C94C}"/>
              </a:ext>
            </a:extLst>
          </p:cNvPr>
          <p:cNvSpPr>
            <a:spLocks noChangeAspect="1"/>
          </p:cNvSpPr>
          <p:nvPr/>
        </p:nvSpPr>
        <p:spPr>
          <a:xfrm>
            <a:off x="719138" y="2950648"/>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descr="Skizze mit einfarbiger Füllung">
            <a:extLst>
              <a:ext uri="{FF2B5EF4-FFF2-40B4-BE49-F238E27FC236}">
                <a16:creationId xmlns:a16="http://schemas.microsoft.com/office/drawing/2014/main" id="{8AD8027B-88D2-301F-6B86-B3CD45FBF9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615" y="3014380"/>
            <a:ext cx="379044" cy="379044"/>
          </a:xfrm>
          <a:prstGeom prst="rect">
            <a:avLst/>
          </a:prstGeom>
        </p:spPr>
      </p:pic>
      <p:sp>
        <p:nvSpPr>
          <p:cNvPr id="11" name="Textfeld 11">
            <a:extLst>
              <a:ext uri="{FF2B5EF4-FFF2-40B4-BE49-F238E27FC236}">
                <a16:creationId xmlns:a16="http://schemas.microsoft.com/office/drawing/2014/main" id="{13EB82FC-874D-C699-3E44-7833E7F7D52B}"/>
              </a:ext>
            </a:extLst>
          </p:cNvPr>
          <p:cNvSpPr txBox="1"/>
          <p:nvPr/>
        </p:nvSpPr>
        <p:spPr>
          <a:xfrm>
            <a:off x="949801" y="6513467"/>
            <a:ext cx="5919009" cy="257086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b="1" dirty="0">
                <a:solidFill>
                  <a:srgbClr val="FF0000"/>
                </a:solidFill>
                <a:latin typeface="Sofia Sans" panose="020B0604020202020204" charset="0"/>
              </a:rPr>
              <a:t>Tides</a:t>
            </a:r>
            <a:r>
              <a:rPr lang="en-US" sz="1200" dirty="0">
                <a:solidFill>
                  <a:srgbClr val="FF0000"/>
                </a:solidFill>
                <a:latin typeface="Sofia Sans" panose="020B0604020202020204" charset="0"/>
              </a:rPr>
              <a:t>: Are caused by the </a:t>
            </a:r>
            <a:r>
              <a:rPr lang="en-US" sz="1200" b="1" dirty="0">
                <a:solidFill>
                  <a:srgbClr val="FF0000"/>
                </a:solidFill>
                <a:latin typeface="Sofia Sans" panose="020B0604020202020204" charset="0"/>
              </a:rPr>
              <a:t>gravitational pull of the moon and the sun</a:t>
            </a:r>
            <a:r>
              <a:rPr lang="en-US" sz="1200" dirty="0">
                <a:solidFill>
                  <a:srgbClr val="FF0000"/>
                </a:solidFill>
                <a:latin typeface="Sofia Sans" panose="020B0604020202020204" charset="0"/>
              </a:rPr>
              <a:t>. Imagine you're pulling on a stretchy rubber band. The moon pulls on Earth’s oceans, causing the water to bulge out toward it. At the same time, there’s another bulge on the opposite side of the Earth because of how the water gets squeezed. That’s why we have </a:t>
            </a:r>
            <a:r>
              <a:rPr lang="en-US" sz="1200" b="1" dirty="0">
                <a:solidFill>
                  <a:srgbClr val="FF0000"/>
                </a:solidFill>
                <a:latin typeface="Sofia Sans" panose="020B0604020202020204" charset="0"/>
              </a:rPr>
              <a:t>high tides</a:t>
            </a:r>
            <a:r>
              <a:rPr lang="en-US" sz="1200" dirty="0">
                <a:solidFill>
                  <a:srgbClr val="FF0000"/>
                </a:solidFill>
                <a:latin typeface="Sofia Sans" panose="020B0604020202020204" charset="0"/>
              </a:rPr>
              <a:t> and </a:t>
            </a:r>
            <a:r>
              <a:rPr lang="en-US" sz="1200" b="1" dirty="0">
                <a:solidFill>
                  <a:srgbClr val="FF0000"/>
                </a:solidFill>
                <a:latin typeface="Sofia Sans" panose="020B0604020202020204" charset="0"/>
              </a:rPr>
              <a:t>low tides</a:t>
            </a:r>
            <a:r>
              <a:rPr lang="en-US" sz="1200" dirty="0">
                <a:solidFill>
                  <a:srgbClr val="FF0000"/>
                </a:solidFill>
                <a:latin typeface="Sofia Sans" panose="020B0604020202020204" charset="0"/>
              </a:rPr>
              <a:t> every day.</a:t>
            </a:r>
          </a:p>
          <a:p>
            <a:endParaRPr lang="en-US" sz="1200" dirty="0">
              <a:solidFill>
                <a:srgbClr val="FF0000"/>
              </a:solidFill>
              <a:latin typeface="Sofia Sans" panose="020B0604020202020204" charset="0"/>
            </a:endParaRPr>
          </a:p>
          <a:p>
            <a:r>
              <a:rPr lang="en-US" sz="1200" b="1" dirty="0">
                <a:solidFill>
                  <a:srgbClr val="FF0000"/>
                </a:solidFill>
                <a:latin typeface="Sofia Sans" panose="020B0604020202020204" charset="0"/>
              </a:rPr>
              <a:t>Waves</a:t>
            </a:r>
            <a:r>
              <a:rPr lang="en-US" sz="1200" dirty="0">
                <a:solidFill>
                  <a:srgbClr val="FF0000"/>
                </a:solidFill>
                <a:latin typeface="Sofia Sans" panose="020B0604020202020204" charset="0"/>
              </a:rPr>
              <a:t>: Are mostly caused by the </a:t>
            </a:r>
            <a:r>
              <a:rPr lang="en-US" sz="1200" b="1" dirty="0">
                <a:solidFill>
                  <a:srgbClr val="FF0000"/>
                </a:solidFill>
                <a:latin typeface="Sofia Sans" panose="020B0604020202020204" charset="0"/>
              </a:rPr>
              <a:t>wind</a:t>
            </a:r>
            <a:r>
              <a:rPr lang="en-US" sz="1200" dirty="0">
                <a:solidFill>
                  <a:srgbClr val="FF0000"/>
                </a:solidFill>
                <a:latin typeface="Sofia Sans" panose="020B0604020202020204" charset="0"/>
              </a:rPr>
              <a:t>. Picture blowing on a bowl of soup—your breath creates ripples on the surface. When the wind blows across the ocean, it pushes the water and creates waves. The stronger the wind, the bigger the waves!</a:t>
            </a:r>
          </a:p>
        </p:txBody>
      </p:sp>
      <p:pic>
        <p:nvPicPr>
          <p:cNvPr id="10" name="Grafik 9" descr="Ein Bild, das Schwarz, Dunkelheit enthält.&#10;&#10;Automatisch generierte Beschreibung">
            <a:extLst>
              <a:ext uri="{FF2B5EF4-FFF2-40B4-BE49-F238E27FC236}">
                <a16:creationId xmlns:a16="http://schemas.microsoft.com/office/drawing/2014/main" id="{654E776C-70A7-C96B-3152-A9569DCF034B}"/>
              </a:ext>
            </a:extLst>
          </p:cNvPr>
          <p:cNvPicPr>
            <a:picLocks noChangeAspect="1"/>
          </p:cNvPicPr>
          <p:nvPr/>
        </p:nvPicPr>
        <p:blipFill>
          <a:blip r:embed="rId6"/>
          <a:stretch>
            <a:fillRect/>
          </a:stretch>
        </p:blipFill>
        <p:spPr>
          <a:xfrm>
            <a:off x="6256988" y="1335830"/>
            <a:ext cx="611822" cy="611822"/>
          </a:xfrm>
          <a:prstGeom prst="rect">
            <a:avLst/>
          </a:prstGeom>
        </p:spPr>
      </p:pic>
      <p:sp>
        <p:nvSpPr>
          <p:cNvPr id="9" name="Untertitel 3">
            <a:extLst>
              <a:ext uri="{FF2B5EF4-FFF2-40B4-BE49-F238E27FC236}">
                <a16:creationId xmlns:a16="http://schemas.microsoft.com/office/drawing/2014/main" id="{386E4677-CF06-EF8C-9316-276A8548EA39}"/>
              </a:ext>
            </a:extLst>
          </p:cNvPr>
          <p:cNvSpPr txBox="1">
            <a:spLocks/>
          </p:cNvSpPr>
          <p:nvPr/>
        </p:nvSpPr>
        <p:spPr>
          <a:xfrm>
            <a:off x="719138" y="3915458"/>
            <a:ext cx="6122097" cy="186703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Understanding Tides and Wave Energy:</a:t>
            </a:r>
            <a:endParaRPr lang="en-US" sz="1200"/>
          </a:p>
          <a:p>
            <a:pPr>
              <a:buClr>
                <a:schemeClr val="accent5"/>
              </a:buClr>
              <a:buSzPct val="121000"/>
              <a:buFont typeface="Arial" panose="020B0604020202020204" pitchFamily="34" charset="0"/>
              <a:buChar char="•"/>
            </a:pPr>
            <a:r>
              <a:rPr lang="en-US" sz="1200"/>
              <a:t>Think about the ocean, like the Atlantic Ocean, Ghana.</a:t>
            </a:r>
          </a:p>
          <a:p>
            <a:pPr>
              <a:buClr>
                <a:schemeClr val="accent5"/>
              </a:buClr>
              <a:buSzPct val="121000"/>
              <a:buFont typeface="Arial" panose="020B0604020202020204" pitchFamily="34" charset="0"/>
              <a:buChar char="•"/>
            </a:pPr>
            <a:r>
              <a:rPr lang="en-US" sz="1200"/>
              <a:t>Answer the following questions:</a:t>
            </a:r>
          </a:p>
          <a:p>
            <a:pPr marL="139700" indent="0"/>
            <a:endParaRPr lang="en-US" sz="1200"/>
          </a:p>
          <a:p>
            <a:pPr marL="482600" indent="-342900">
              <a:buClr>
                <a:schemeClr val="accent5"/>
              </a:buClr>
              <a:buSzPct val="121000"/>
              <a:buFont typeface="+mj-lt"/>
              <a:buAutoNum type="arabicPeriod"/>
            </a:pPr>
            <a:r>
              <a:rPr lang="en-US" sz="1200"/>
              <a:t>What natural forces create tides and waves in the ocean?</a:t>
            </a:r>
          </a:p>
          <a:p>
            <a:pPr marL="482600" indent="-342900">
              <a:buClr>
                <a:schemeClr val="accent5"/>
              </a:buClr>
              <a:buSzPct val="121000"/>
              <a:buFont typeface="+mj-lt"/>
              <a:buAutoNum type="arabicPeriod"/>
            </a:pPr>
            <a:r>
              <a:rPr lang="en-US" sz="1200"/>
              <a:t>What do you think is the largest tidal difference (highest and lowest water levels) found on earth?</a:t>
            </a:r>
          </a:p>
          <a:p>
            <a:pPr marL="482600" indent="-342900">
              <a:buClr>
                <a:schemeClr val="accent5"/>
              </a:buClr>
              <a:buSzPct val="121000"/>
              <a:buFont typeface="+mj-lt"/>
              <a:buAutoNum type="arabicPeriod"/>
            </a:pPr>
            <a:r>
              <a:rPr lang="en-US" sz="1200"/>
              <a:t>How might we use these natural forces, like tides and waves, to generate hydropower?</a:t>
            </a:r>
            <a:endParaRPr lang="en-US" sz="1200" b="1"/>
          </a:p>
        </p:txBody>
      </p:sp>
      <p:sp>
        <p:nvSpPr>
          <p:cNvPr id="13" name="Untertitel 5">
            <a:extLst>
              <a:ext uri="{FF2B5EF4-FFF2-40B4-BE49-F238E27FC236}">
                <a16:creationId xmlns:a16="http://schemas.microsoft.com/office/drawing/2014/main" id="{204EF0B9-8895-D26E-FDFF-1DA502FEDC07}"/>
              </a:ext>
            </a:extLst>
          </p:cNvPr>
          <p:cNvSpPr txBox="1">
            <a:spLocks/>
          </p:cNvSpPr>
          <p:nvPr/>
        </p:nvSpPr>
        <p:spPr>
          <a:xfrm>
            <a:off x="738608" y="3542177"/>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sp>
        <p:nvSpPr>
          <p:cNvPr id="15" name="Untertitel 3">
            <a:extLst>
              <a:ext uri="{FF2B5EF4-FFF2-40B4-BE49-F238E27FC236}">
                <a16:creationId xmlns:a16="http://schemas.microsoft.com/office/drawing/2014/main" id="{A1FD17F8-FEE5-0C41-1692-6CC023AF8D36}"/>
              </a:ext>
            </a:extLst>
          </p:cNvPr>
          <p:cNvSpPr txBox="1">
            <a:spLocks/>
          </p:cNvSpPr>
          <p:nvPr/>
        </p:nvSpPr>
        <p:spPr>
          <a:xfrm>
            <a:off x="738608" y="5975565"/>
            <a:ext cx="6122097" cy="4001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1. What natural forces create tides and waves in the ocean?</a:t>
            </a:r>
          </a:p>
        </p:txBody>
      </p:sp>
    </p:spTree>
    <p:extLst>
      <p:ext uri="{BB962C8B-B14F-4D97-AF65-F5344CB8AC3E}">
        <p14:creationId xmlns:p14="http://schemas.microsoft.com/office/powerpoint/2010/main" val="12227961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78AFBC5-B6A8-B07C-81A4-D41C04129D6C}"/>
              </a:ext>
            </a:extLst>
          </p:cNvPr>
          <p:cNvSpPr>
            <a:spLocks noGrp="1"/>
          </p:cNvSpPr>
          <p:nvPr>
            <p:ph type="sldNum" sz="quarter" idx="4"/>
          </p:nvPr>
        </p:nvSpPr>
        <p:spPr/>
        <p:txBody>
          <a:bodyPr/>
          <a:lstStyle/>
          <a:p>
            <a:fld id="{DF7F771E-9578-4C04-B869-01AF4C35C90C}" type="slidenum">
              <a:rPr lang="de-DE" smtClean="0"/>
              <a:t>22</a:t>
            </a:fld>
            <a:endParaRPr lang="de-DE"/>
          </a:p>
        </p:txBody>
      </p:sp>
      <p:sp>
        <p:nvSpPr>
          <p:cNvPr id="6" name="Untertitel 3">
            <a:extLst>
              <a:ext uri="{FF2B5EF4-FFF2-40B4-BE49-F238E27FC236}">
                <a16:creationId xmlns:a16="http://schemas.microsoft.com/office/drawing/2014/main" id="{4A275660-0A41-C4BF-E7F0-452806781345}"/>
              </a:ext>
            </a:extLst>
          </p:cNvPr>
          <p:cNvSpPr txBox="1">
            <a:spLocks/>
          </p:cNvSpPr>
          <p:nvPr/>
        </p:nvSpPr>
        <p:spPr>
          <a:xfrm>
            <a:off x="738608" y="1299047"/>
            <a:ext cx="6122097"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US" sz="1200" b="1"/>
              <a:t>2. What do you think is the largest tidal difference (highest and lowest water levels) found on Earth?</a:t>
            </a:r>
          </a:p>
        </p:txBody>
      </p:sp>
      <p:sp>
        <p:nvSpPr>
          <p:cNvPr id="7" name="Textfeld 6">
            <a:extLst>
              <a:ext uri="{FF2B5EF4-FFF2-40B4-BE49-F238E27FC236}">
                <a16:creationId xmlns:a16="http://schemas.microsoft.com/office/drawing/2014/main" id="{2DE15CE4-B661-7D42-3337-89CC7D7AA953}"/>
              </a:ext>
            </a:extLst>
          </p:cNvPr>
          <p:cNvSpPr txBox="1"/>
          <p:nvPr/>
        </p:nvSpPr>
        <p:spPr>
          <a:xfrm>
            <a:off x="941696" y="2029866"/>
            <a:ext cx="5919009" cy="193086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dirty="0">
                <a:solidFill>
                  <a:srgbClr val="FF0000"/>
                </a:solidFill>
                <a:latin typeface="Sofia Sans" panose="020B0604020202020204" charset="0"/>
              </a:rPr>
              <a:t>The biggest tidal difference in the world happens in a place called the </a:t>
            </a:r>
            <a:r>
              <a:rPr lang="en-US" sz="1200" b="1" dirty="0">
                <a:solidFill>
                  <a:srgbClr val="FF0000"/>
                </a:solidFill>
                <a:latin typeface="Sofia Sans" panose="020B0604020202020204" charset="0"/>
              </a:rPr>
              <a:t>Bay of Fundy</a:t>
            </a:r>
            <a:r>
              <a:rPr lang="en-US" sz="1200" dirty="0">
                <a:solidFill>
                  <a:srgbClr val="FF0000"/>
                </a:solidFill>
                <a:latin typeface="Sofia Sans" panose="020B0604020202020204" charset="0"/>
              </a:rPr>
              <a:t>, between Canada’s New Brunswick and Nova Scotia.</a:t>
            </a:r>
          </a:p>
          <a:p>
            <a:endParaRPr lang="en-US" sz="1200" dirty="0">
              <a:solidFill>
                <a:srgbClr val="FF0000"/>
              </a:solidFill>
              <a:latin typeface="Sofia Sans" panose="020B0604020202020204" charset="0"/>
            </a:endParaRPr>
          </a:p>
          <a:p>
            <a:r>
              <a:rPr lang="en-US" sz="1200" dirty="0">
                <a:solidFill>
                  <a:srgbClr val="FF0000"/>
                </a:solidFill>
                <a:latin typeface="Sofia Sans" panose="020B0604020202020204" charset="0"/>
              </a:rPr>
              <a:t>Here, the water can rise and fall by as much as </a:t>
            </a:r>
            <a:r>
              <a:rPr lang="en-US" sz="1200" b="1" dirty="0">
                <a:solidFill>
                  <a:srgbClr val="FF0000"/>
                </a:solidFill>
                <a:latin typeface="Sofia Sans" panose="020B0604020202020204" charset="0"/>
              </a:rPr>
              <a:t>16 meters (or 53 feet)</a:t>
            </a:r>
            <a:r>
              <a:rPr lang="en-US" sz="1200" dirty="0">
                <a:solidFill>
                  <a:srgbClr val="FF0000"/>
                </a:solidFill>
                <a:latin typeface="Sofia Sans" panose="020B0604020202020204" charset="0"/>
              </a:rPr>
              <a:t>! That’s about as tall as a </a:t>
            </a:r>
            <a:r>
              <a:rPr lang="en-US" sz="1200" b="1" dirty="0">
                <a:solidFill>
                  <a:srgbClr val="FF0000"/>
                </a:solidFill>
                <a:latin typeface="Sofia Sans" panose="020B0604020202020204" charset="0"/>
              </a:rPr>
              <a:t>four-story building</a:t>
            </a:r>
            <a:r>
              <a:rPr lang="en-US" sz="1200" dirty="0">
                <a:solidFill>
                  <a:srgbClr val="FF0000"/>
                </a:solidFill>
                <a:latin typeface="Sofia Sans" panose="020B0604020202020204" charset="0"/>
              </a:rPr>
              <a:t>. Imagine a beach where the water goes way out during low tide, and then hours later, it comes rushing back in, almost like filling a giant bathtub.</a:t>
            </a:r>
          </a:p>
        </p:txBody>
      </p:sp>
      <p:sp>
        <p:nvSpPr>
          <p:cNvPr id="8" name="Untertitel 3">
            <a:extLst>
              <a:ext uri="{FF2B5EF4-FFF2-40B4-BE49-F238E27FC236}">
                <a16:creationId xmlns:a16="http://schemas.microsoft.com/office/drawing/2014/main" id="{8FA8CF62-21CB-F989-E006-3187715F5B4D}"/>
              </a:ext>
            </a:extLst>
          </p:cNvPr>
          <p:cNvSpPr txBox="1">
            <a:spLocks/>
          </p:cNvSpPr>
          <p:nvPr/>
        </p:nvSpPr>
        <p:spPr>
          <a:xfrm>
            <a:off x="738608" y="4164402"/>
            <a:ext cx="6122097" cy="40746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US" sz="1200" b="1"/>
              <a:t>3. How might we use these natural forces, like tides and waves, to generate hydropower?</a:t>
            </a:r>
          </a:p>
        </p:txBody>
      </p:sp>
      <p:sp>
        <p:nvSpPr>
          <p:cNvPr id="9" name="Textfeld 11">
            <a:extLst>
              <a:ext uri="{FF2B5EF4-FFF2-40B4-BE49-F238E27FC236}">
                <a16:creationId xmlns:a16="http://schemas.microsoft.com/office/drawing/2014/main" id="{DF8F8103-5546-003D-50A3-5A838E22BBA8}"/>
              </a:ext>
            </a:extLst>
          </p:cNvPr>
          <p:cNvSpPr txBox="1"/>
          <p:nvPr/>
        </p:nvSpPr>
        <p:spPr>
          <a:xfrm>
            <a:off x="941696" y="4741346"/>
            <a:ext cx="5919009" cy="371467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dirty="0">
                <a:solidFill>
                  <a:srgbClr val="FF0000"/>
                </a:solidFill>
                <a:latin typeface="Sofia Sans" panose="020B0604020202020204" charset="0"/>
              </a:rPr>
              <a:t>We can turn the ocean's energy into electricity, just like we turn the wind into power with windmills.</a:t>
            </a:r>
          </a:p>
          <a:p>
            <a:pPr marL="139700" indent="0"/>
            <a:endParaRPr lang="en-US" sz="1200" dirty="0">
              <a:solidFill>
                <a:srgbClr val="FF0000"/>
              </a:solidFill>
              <a:latin typeface="Sofia Sans" panose="020B0604020202020204" charset="0"/>
            </a:endParaRPr>
          </a:p>
          <a:p>
            <a:r>
              <a:rPr lang="en-US" sz="1200" b="1" dirty="0">
                <a:solidFill>
                  <a:srgbClr val="FF0000"/>
                </a:solidFill>
                <a:latin typeface="Sofia Sans" panose="020B0604020202020204" charset="0"/>
              </a:rPr>
              <a:t>Using Tides</a:t>
            </a:r>
            <a:r>
              <a:rPr lang="en-US" sz="1200" dirty="0">
                <a:solidFill>
                  <a:srgbClr val="FF0000"/>
                </a:solidFill>
                <a:latin typeface="Sofia Sans" panose="020B0604020202020204" charset="0"/>
              </a:rPr>
              <a:t>: Engineers build special underwater “water wheels” or </a:t>
            </a:r>
            <a:r>
              <a:rPr lang="en-US" sz="1200" b="1" dirty="0">
                <a:solidFill>
                  <a:srgbClr val="FF0000"/>
                </a:solidFill>
                <a:latin typeface="Sofia Sans" panose="020B0604020202020204" charset="0"/>
              </a:rPr>
              <a:t>tidal turbines</a:t>
            </a:r>
            <a:r>
              <a:rPr lang="en-US" sz="1200" dirty="0">
                <a:solidFill>
                  <a:srgbClr val="FF0000"/>
                </a:solidFill>
                <a:latin typeface="Sofia Sans" panose="020B0604020202020204" charset="0"/>
              </a:rPr>
              <a:t> that spin when the tides flow in and out. It’s like riding a bike downhill—the flowing water makes the turbines move and create energy.</a:t>
            </a:r>
          </a:p>
          <a:p>
            <a:endParaRPr lang="en-US" sz="1200" dirty="0">
              <a:solidFill>
                <a:srgbClr val="FF0000"/>
              </a:solidFill>
              <a:latin typeface="Sofia Sans" panose="020B0604020202020204" charset="0"/>
            </a:endParaRPr>
          </a:p>
          <a:p>
            <a:r>
              <a:rPr lang="en-US" sz="1200" b="1" dirty="0">
                <a:solidFill>
                  <a:srgbClr val="FF0000"/>
                </a:solidFill>
                <a:latin typeface="Sofia Sans" panose="020B0604020202020204" charset="0"/>
              </a:rPr>
              <a:t>Using Waves</a:t>
            </a:r>
            <a:r>
              <a:rPr lang="en-US" sz="1200" dirty="0">
                <a:solidFill>
                  <a:srgbClr val="FF0000"/>
                </a:solidFill>
                <a:latin typeface="Sofia Sans" panose="020B0604020202020204" charset="0"/>
              </a:rPr>
              <a:t>: Waves are like nature's push and pull. We can build devices that float on the surface or sit underwater. These machines capture the motion of the waves and turn it into electricity, just like how we use a crank to generate power for a flashlight.</a:t>
            </a:r>
          </a:p>
          <a:p>
            <a:pPr>
              <a:buFont typeface="Arial" panose="020B0604020202020204" pitchFamily="34" charset="0"/>
              <a:buChar char="•"/>
            </a:pPr>
            <a:endParaRPr lang="en-US" sz="1200" dirty="0">
              <a:solidFill>
                <a:srgbClr val="FF0000"/>
              </a:solidFill>
              <a:latin typeface="Sofia Sans" panose="020B0604020202020204" charset="0"/>
            </a:endParaRPr>
          </a:p>
          <a:p>
            <a:pPr>
              <a:buFont typeface="Arial" panose="020B0604020202020204" pitchFamily="34" charset="0"/>
              <a:buChar char="•"/>
            </a:pPr>
            <a:endParaRPr lang="en-US" sz="1200" dirty="0">
              <a:solidFill>
                <a:srgbClr val="FF0000"/>
              </a:solidFill>
              <a:latin typeface="Sofia Sans" panose="020B0604020202020204" charset="0"/>
            </a:endParaRPr>
          </a:p>
          <a:p>
            <a:r>
              <a:rPr lang="en-US" sz="1200" i="1" dirty="0">
                <a:solidFill>
                  <a:srgbClr val="FF0000"/>
                </a:solidFill>
                <a:latin typeface="Sofia Sans" panose="020B0604020202020204" charset="0"/>
              </a:rPr>
              <a:t>Motivation</a:t>
            </a:r>
            <a:r>
              <a:rPr lang="en-US" sz="1200" dirty="0">
                <a:solidFill>
                  <a:srgbClr val="FF0000"/>
                </a:solidFill>
                <a:latin typeface="Sofia Sans" panose="020B0604020202020204" charset="0"/>
              </a:rPr>
              <a:t>: It’s amazing that we can use the ocean's natural movements to light up our homes, just like plugging into nature’s power socket!</a:t>
            </a:r>
          </a:p>
        </p:txBody>
      </p:sp>
    </p:spTree>
    <p:extLst>
      <p:ext uri="{BB962C8B-B14F-4D97-AF65-F5344CB8AC3E}">
        <p14:creationId xmlns:p14="http://schemas.microsoft.com/office/powerpoint/2010/main" val="655282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2FDEE-1780-4FA1-0B14-597160C3F28A}"/>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DF312702-6F69-9E59-E0AA-C36E1F64CC0F}"/>
              </a:ext>
            </a:extLst>
          </p:cNvPr>
          <p:cNvSpPr>
            <a:spLocks noGrp="1"/>
          </p:cNvSpPr>
          <p:nvPr>
            <p:ph type="sldNum" sz="quarter" idx="16"/>
          </p:nvPr>
        </p:nvSpPr>
        <p:spPr/>
        <p:txBody>
          <a:bodyPr/>
          <a:lstStyle/>
          <a:p>
            <a:fld id="{DF7F771E-9578-4C04-B869-01AF4C35C90C}" type="slidenum">
              <a:rPr lang="de-DE" smtClean="0"/>
              <a:t>23</a:t>
            </a:fld>
            <a:endParaRPr lang="de-DE"/>
          </a:p>
        </p:txBody>
      </p:sp>
      <p:pic>
        <p:nvPicPr>
          <p:cNvPr id="12" name="Grafik 11" descr="Skizze mit einfarbiger Füllung">
            <a:extLst>
              <a:ext uri="{FF2B5EF4-FFF2-40B4-BE49-F238E27FC236}">
                <a16:creationId xmlns:a16="http://schemas.microsoft.com/office/drawing/2014/main" id="{D6792754-910B-774D-9DEF-021F31387FE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4903" y="2064018"/>
            <a:ext cx="379044" cy="379044"/>
          </a:xfrm>
          <a:prstGeom prst="rect">
            <a:avLst/>
          </a:prstGeom>
        </p:spPr>
      </p:pic>
      <p:sp>
        <p:nvSpPr>
          <p:cNvPr id="13" name="Rechteck 1">
            <a:extLst>
              <a:ext uri="{FF2B5EF4-FFF2-40B4-BE49-F238E27FC236}">
                <a16:creationId xmlns:a16="http://schemas.microsoft.com/office/drawing/2014/main" id="{41D7E197-FBC5-F67C-A2AD-BD1A26E9FDD1}"/>
              </a:ext>
            </a:extLst>
          </p:cNvPr>
          <p:cNvSpPr/>
          <p:nvPr/>
        </p:nvSpPr>
        <p:spPr>
          <a:xfrm>
            <a:off x="719138" y="1606287"/>
            <a:ext cx="5740172" cy="5325736"/>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 name="Gruppieren 2">
            <a:extLst>
              <a:ext uri="{FF2B5EF4-FFF2-40B4-BE49-F238E27FC236}">
                <a16:creationId xmlns:a16="http://schemas.microsoft.com/office/drawing/2014/main" id="{D2ECBE0D-FB0C-B108-B4D0-84F21A38569E}"/>
              </a:ext>
            </a:extLst>
          </p:cNvPr>
          <p:cNvGrpSpPr/>
          <p:nvPr/>
        </p:nvGrpSpPr>
        <p:grpSpPr>
          <a:xfrm>
            <a:off x="6113840" y="1277938"/>
            <a:ext cx="660145" cy="660145"/>
            <a:chOff x="6410445" y="4934734"/>
            <a:chExt cx="660145" cy="660145"/>
          </a:xfrm>
        </p:grpSpPr>
        <p:sp>
          <p:nvSpPr>
            <p:cNvPr id="14" name="Ellipse 2">
              <a:extLst>
                <a:ext uri="{FF2B5EF4-FFF2-40B4-BE49-F238E27FC236}">
                  <a16:creationId xmlns:a16="http://schemas.microsoft.com/office/drawing/2014/main" id="{F439931D-16A9-A11D-F15F-3E9C24E2AF05}"/>
                </a:ext>
              </a:extLst>
            </p:cNvPr>
            <p:cNvSpPr>
              <a:spLocks noChangeAspect="1"/>
            </p:cNvSpPr>
            <p:nvPr/>
          </p:nvSpPr>
          <p:spPr>
            <a:xfrm>
              <a:off x="6410445" y="4934734"/>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9" descr="Lesezeichen mit einfarbiger Füllung">
              <a:extLst>
                <a:ext uri="{FF2B5EF4-FFF2-40B4-BE49-F238E27FC236}">
                  <a16:creationId xmlns:a16="http://schemas.microsoft.com/office/drawing/2014/main" id="{4CA7E406-887A-9290-B66E-0B63FE1C92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38292" y="5062581"/>
              <a:ext cx="404450" cy="404450"/>
            </a:xfrm>
            <a:prstGeom prst="rect">
              <a:avLst/>
            </a:prstGeom>
          </p:spPr>
        </p:pic>
      </p:grpSp>
      <p:sp>
        <p:nvSpPr>
          <p:cNvPr id="17" name="Untertitel 5">
            <a:extLst>
              <a:ext uri="{FF2B5EF4-FFF2-40B4-BE49-F238E27FC236}">
                <a16:creationId xmlns:a16="http://schemas.microsoft.com/office/drawing/2014/main" id="{7A870B35-A126-72A5-5B30-F1E0924770EC}"/>
              </a:ext>
            </a:extLst>
          </p:cNvPr>
          <p:cNvSpPr txBox="1">
            <a:spLocks/>
          </p:cNvSpPr>
          <p:nvPr/>
        </p:nvSpPr>
        <p:spPr>
          <a:xfrm>
            <a:off x="850186" y="169052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450"/>
              <a:t>In Summary</a:t>
            </a:r>
            <a:endParaRPr lang="de-DE"/>
          </a:p>
        </p:txBody>
      </p:sp>
      <p:sp>
        <p:nvSpPr>
          <p:cNvPr id="7" name="Untertitel 2">
            <a:extLst>
              <a:ext uri="{FF2B5EF4-FFF2-40B4-BE49-F238E27FC236}">
                <a16:creationId xmlns:a16="http://schemas.microsoft.com/office/drawing/2014/main" id="{0B37178B-19FB-BABE-9244-BEBA68EEF34F}"/>
              </a:ext>
            </a:extLst>
          </p:cNvPr>
          <p:cNvSpPr>
            <a:spLocks noGrp="1"/>
          </p:cNvSpPr>
          <p:nvPr>
            <p:ph type="subTitle" idx="1"/>
          </p:nvPr>
        </p:nvSpPr>
        <p:spPr>
          <a:xfrm>
            <a:off x="962832" y="2138585"/>
            <a:ext cx="5151008" cy="4376762"/>
          </a:xfrm>
        </p:spPr>
        <p:txBody>
          <a:bodyPr/>
          <a:lstStyle/>
          <a:p>
            <a:pPr marL="285750" indent="-285750">
              <a:lnSpc>
                <a:spcPct val="114999"/>
              </a:lnSpc>
              <a:buClr>
                <a:schemeClr val="accent5"/>
              </a:buClr>
              <a:buSzPct val="121000"/>
              <a:buFont typeface="Arial"/>
              <a:buChar char="•"/>
            </a:pPr>
            <a:r>
              <a:rPr lang="en-US" sz="1200" b="1">
                <a:solidFill>
                  <a:schemeClr val="tx1"/>
                </a:solidFill>
              </a:rPr>
              <a:t>Ocean Energy Potential</a:t>
            </a:r>
            <a:r>
              <a:rPr lang="en-US" sz="1200">
                <a:solidFill>
                  <a:schemeClr val="tx1"/>
                </a:solidFill>
              </a:rPr>
              <a:t>: Oceans cover over 70% of earth’s surface, making them a vast source of renewable energy.</a:t>
            </a:r>
          </a:p>
          <a:p>
            <a:pPr marL="285750" indent="-285750">
              <a:lnSpc>
                <a:spcPct val="114999"/>
              </a:lnSpc>
              <a:buClr>
                <a:schemeClr val="accent5"/>
              </a:buClr>
              <a:buSzPct val="121000"/>
              <a:buFont typeface="Arial"/>
              <a:buChar char="•"/>
            </a:pPr>
            <a:endParaRPr lang="de-DE" sz="1200"/>
          </a:p>
          <a:p>
            <a:pPr marL="0" indent="0">
              <a:lnSpc>
                <a:spcPct val="114999"/>
              </a:lnSpc>
              <a:buClr>
                <a:schemeClr val="accent5"/>
              </a:buClr>
              <a:buSzPct val="121000"/>
            </a:pPr>
            <a:r>
              <a:rPr lang="en-US" sz="1200" b="1">
                <a:solidFill>
                  <a:schemeClr val="tx1"/>
                </a:solidFill>
              </a:rPr>
              <a:t>Sources of Ocean Energy</a:t>
            </a:r>
            <a:r>
              <a:rPr lang="en-US" sz="1200">
                <a:solidFill>
                  <a:schemeClr val="tx1"/>
                </a:solidFill>
              </a:rPr>
              <a:t>:</a:t>
            </a:r>
            <a:endParaRPr lang="en-US" sz="1200"/>
          </a:p>
          <a:p>
            <a:pPr marL="285750" indent="-285750">
              <a:lnSpc>
                <a:spcPct val="114999"/>
              </a:lnSpc>
              <a:buClr>
                <a:schemeClr val="accent5"/>
              </a:buClr>
              <a:buSzPct val="121000"/>
              <a:buFont typeface="Arial"/>
              <a:buChar char="•"/>
            </a:pPr>
            <a:r>
              <a:rPr lang="en-US" sz="1200" b="1">
                <a:solidFill>
                  <a:schemeClr val="tx1"/>
                </a:solidFill>
              </a:rPr>
              <a:t>Tidal Energy</a:t>
            </a:r>
            <a:r>
              <a:rPr lang="en-US" sz="1200">
                <a:solidFill>
                  <a:schemeClr val="tx1"/>
                </a:solidFill>
              </a:rPr>
              <a:t>: Generated from the rise and fall of tides, driven by the gravitational pull of the moon and sun. Tidal systems are predictable and consistent.</a:t>
            </a:r>
            <a:endParaRPr lang="en-US" sz="1200"/>
          </a:p>
          <a:p>
            <a:pPr marL="285750" indent="-285750">
              <a:lnSpc>
                <a:spcPct val="114999"/>
              </a:lnSpc>
              <a:buClr>
                <a:schemeClr val="accent5"/>
              </a:buClr>
              <a:buSzPct val="121000"/>
              <a:buFont typeface="Arial"/>
              <a:buChar char="•"/>
            </a:pPr>
            <a:r>
              <a:rPr lang="en-US" sz="1200" b="1">
                <a:solidFill>
                  <a:schemeClr val="tx1"/>
                </a:solidFill>
              </a:rPr>
              <a:t>Wave Energy</a:t>
            </a:r>
            <a:r>
              <a:rPr lang="en-US" sz="1200">
                <a:solidFill>
                  <a:schemeClr val="tx1"/>
                </a:solidFill>
              </a:rPr>
              <a:t>: Converts the up-and-down motion of waves, which are created by wind moving across the ocean surface, into electricity.</a:t>
            </a:r>
            <a:endParaRPr lang="en-US" sz="1200"/>
          </a:p>
          <a:p>
            <a:pPr marL="285750" indent="-285750">
              <a:lnSpc>
                <a:spcPct val="114999"/>
              </a:lnSpc>
              <a:buClr>
                <a:schemeClr val="accent5"/>
              </a:buClr>
              <a:buSzPct val="121000"/>
              <a:buFont typeface="Arial"/>
              <a:buChar char="•"/>
            </a:pPr>
            <a:r>
              <a:rPr lang="en-US" sz="1200" b="1">
                <a:solidFill>
                  <a:schemeClr val="tx1"/>
                </a:solidFill>
              </a:rPr>
              <a:t>Real-Life Example</a:t>
            </a:r>
            <a:r>
              <a:rPr lang="en-US" sz="1200">
                <a:solidFill>
                  <a:schemeClr val="tx1"/>
                </a:solidFill>
              </a:rPr>
              <a:t>: The Bay of Fundy in Canada has the world's largest tidal range, up to 16 meters (53 feet), demonstrating the immense power of tidal energy.</a:t>
            </a:r>
          </a:p>
          <a:p>
            <a:pPr marL="285750" indent="-285750">
              <a:lnSpc>
                <a:spcPct val="114999"/>
              </a:lnSpc>
              <a:buClr>
                <a:schemeClr val="accent5"/>
              </a:buClr>
              <a:buSzPct val="121000"/>
              <a:buFont typeface="Arial"/>
              <a:buChar char="•"/>
            </a:pPr>
            <a:endParaRPr lang="en-US" sz="1200"/>
          </a:p>
          <a:p>
            <a:pPr marL="0" indent="0">
              <a:lnSpc>
                <a:spcPct val="114999"/>
              </a:lnSpc>
              <a:buClr>
                <a:schemeClr val="accent5"/>
              </a:buClr>
              <a:buSzPct val="121000"/>
            </a:pPr>
            <a:r>
              <a:rPr lang="en-US" sz="1200" b="1">
                <a:solidFill>
                  <a:schemeClr val="tx1"/>
                </a:solidFill>
              </a:rPr>
              <a:t>Technological Challenges and Opportunities</a:t>
            </a:r>
            <a:r>
              <a:rPr lang="en-US" sz="1200">
                <a:solidFill>
                  <a:schemeClr val="tx1"/>
                </a:solidFill>
              </a:rPr>
              <a:t>:</a:t>
            </a:r>
          </a:p>
          <a:p>
            <a:pPr marL="285750" indent="-285750">
              <a:lnSpc>
                <a:spcPct val="114999"/>
              </a:lnSpc>
              <a:buClr>
                <a:schemeClr val="accent5"/>
              </a:buClr>
              <a:buSzPct val="121000"/>
              <a:buFont typeface="Arial"/>
              <a:buChar char="•"/>
            </a:pPr>
            <a:r>
              <a:rPr lang="en-US" sz="1200">
                <a:solidFill>
                  <a:schemeClr val="tx1"/>
                </a:solidFill>
              </a:rPr>
              <a:t>Harsh ocean conditions and unpredictability present engineering challenges.</a:t>
            </a:r>
          </a:p>
          <a:p>
            <a:pPr marL="285750" indent="-285750">
              <a:lnSpc>
                <a:spcPct val="114999"/>
              </a:lnSpc>
              <a:buClr>
                <a:schemeClr val="accent5"/>
              </a:buClr>
              <a:buSzPct val="121000"/>
              <a:buFont typeface="Arial"/>
              <a:buChar char="•"/>
            </a:pPr>
            <a:r>
              <a:rPr lang="en-US" sz="1200">
                <a:solidFill>
                  <a:schemeClr val="tx1"/>
                </a:solidFill>
              </a:rPr>
              <a:t>Innovations in technology could unlock the ocean's potential as a significant contributor to global renewable energy.</a:t>
            </a:r>
          </a:p>
          <a:p>
            <a:pPr marL="285750" indent="-285750">
              <a:lnSpc>
                <a:spcPct val="114999"/>
              </a:lnSpc>
              <a:buClr>
                <a:schemeClr val="accent5"/>
              </a:buClr>
              <a:buSzPct val="121000"/>
              <a:buFont typeface="Arial"/>
              <a:buChar char="•"/>
            </a:pPr>
            <a:r>
              <a:rPr lang="en-US" sz="1200" b="1">
                <a:solidFill>
                  <a:schemeClr val="tx1"/>
                </a:solidFill>
              </a:rPr>
              <a:t>Importance of Oceans</a:t>
            </a:r>
            <a:r>
              <a:rPr lang="en-US" sz="1200">
                <a:solidFill>
                  <a:schemeClr val="tx1"/>
                </a:solidFill>
              </a:rPr>
              <a:t>: Harnessing ocean energy is like plugging into nature’s power, offering sustainable solutions for lighting homes and reducing reliance on fossil fuels.</a:t>
            </a:r>
          </a:p>
        </p:txBody>
      </p:sp>
    </p:spTree>
    <p:extLst>
      <p:ext uri="{BB962C8B-B14F-4D97-AF65-F5344CB8AC3E}">
        <p14:creationId xmlns:p14="http://schemas.microsoft.com/office/powerpoint/2010/main" val="34599082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39993-F8B6-9F12-A8D5-550F7F85327F}"/>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699BF2B-4CB6-F189-B9BF-7CB714984717}"/>
              </a:ext>
            </a:extLst>
          </p:cNvPr>
          <p:cNvSpPr>
            <a:spLocks noGrp="1"/>
          </p:cNvSpPr>
          <p:nvPr>
            <p:ph type="sldNum" sz="quarter" idx="4"/>
          </p:nvPr>
        </p:nvSpPr>
        <p:spPr/>
        <p:txBody>
          <a:bodyPr/>
          <a:lstStyle/>
          <a:p>
            <a:fld id="{DF7F771E-9578-4C04-B869-01AF4C35C90C}" type="slidenum">
              <a:rPr lang="de-DE" smtClean="0"/>
              <a:t>24</a:t>
            </a:fld>
            <a:endParaRPr lang="de-DE"/>
          </a:p>
        </p:txBody>
      </p:sp>
      <p:sp>
        <p:nvSpPr>
          <p:cNvPr id="18" name="Untertitel 3">
            <a:extLst>
              <a:ext uri="{FF2B5EF4-FFF2-40B4-BE49-F238E27FC236}">
                <a16:creationId xmlns:a16="http://schemas.microsoft.com/office/drawing/2014/main" id="{E806ECC6-8221-A9B6-1A98-5CFE6563B609}"/>
              </a:ext>
            </a:extLst>
          </p:cNvPr>
          <p:cNvSpPr txBox="1">
            <a:spLocks/>
          </p:cNvSpPr>
          <p:nvPr/>
        </p:nvSpPr>
        <p:spPr>
          <a:xfrm>
            <a:off x="923048" y="5068784"/>
            <a:ext cx="5713537" cy="504290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482600" indent="-342900">
              <a:buFont typeface="+mj-lt"/>
              <a:buAutoNum type="arabicPeriod"/>
            </a:pPr>
            <a:endParaRPr lang="en-US" b="1"/>
          </a:p>
        </p:txBody>
      </p:sp>
      <p:pic>
        <p:nvPicPr>
          <p:cNvPr id="7" name="Grafik 6" descr="Ein Bild, das Schwarz, Dunkelheit enthält.&#10;&#10;Automatisch generierte Beschreibung">
            <a:extLst>
              <a:ext uri="{FF2B5EF4-FFF2-40B4-BE49-F238E27FC236}">
                <a16:creationId xmlns:a16="http://schemas.microsoft.com/office/drawing/2014/main" id="{441FC6DB-B099-FDA8-4353-36AA9553E39A}"/>
              </a:ext>
            </a:extLst>
          </p:cNvPr>
          <p:cNvPicPr>
            <a:picLocks noChangeAspect="1"/>
          </p:cNvPicPr>
          <p:nvPr/>
        </p:nvPicPr>
        <p:blipFill>
          <a:blip r:embed="rId2"/>
          <a:stretch>
            <a:fillRect/>
          </a:stretch>
        </p:blipFill>
        <p:spPr>
          <a:xfrm>
            <a:off x="6313714" y="1355670"/>
            <a:ext cx="643296" cy="643296"/>
          </a:xfrm>
          <a:prstGeom prst="rect">
            <a:avLst/>
          </a:prstGeom>
        </p:spPr>
      </p:pic>
      <p:sp>
        <p:nvSpPr>
          <p:cNvPr id="5" name="Titel 1">
            <a:extLst>
              <a:ext uri="{FF2B5EF4-FFF2-40B4-BE49-F238E27FC236}">
                <a16:creationId xmlns:a16="http://schemas.microsoft.com/office/drawing/2014/main" id="{97847345-9FE4-2C85-E353-1CAD64864DFC}"/>
              </a:ext>
            </a:extLst>
          </p:cNvPr>
          <p:cNvSpPr txBox="1">
            <a:spLocks/>
          </p:cNvSpPr>
          <p:nvPr/>
        </p:nvSpPr>
        <p:spPr>
          <a:xfrm>
            <a:off x="719138" y="1304197"/>
            <a:ext cx="6380336" cy="78562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a:t>3. </a:t>
            </a:r>
            <a:r>
              <a:rPr lang="de-DE" err="1"/>
              <a:t>Mountainous</a:t>
            </a:r>
            <a:r>
              <a:rPr lang="de-DE"/>
              <a:t> </a:t>
            </a:r>
            <a:r>
              <a:rPr lang="de-DE" err="1"/>
              <a:t>Regions</a:t>
            </a:r>
            <a:endParaRPr lang="de-DE"/>
          </a:p>
        </p:txBody>
      </p:sp>
      <p:sp>
        <p:nvSpPr>
          <p:cNvPr id="8" name="Untertitel 3">
            <a:extLst>
              <a:ext uri="{FF2B5EF4-FFF2-40B4-BE49-F238E27FC236}">
                <a16:creationId xmlns:a16="http://schemas.microsoft.com/office/drawing/2014/main" id="{D40AC5E6-80C5-7CBB-B1ED-1A79C3130C30}"/>
              </a:ext>
            </a:extLst>
          </p:cNvPr>
          <p:cNvSpPr txBox="1">
            <a:spLocks/>
          </p:cNvSpPr>
          <p:nvPr/>
        </p:nvSpPr>
        <p:spPr>
          <a:xfrm>
            <a:off x="719138" y="1960982"/>
            <a:ext cx="6237872" cy="8724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t>The target of this exercise is to understand how hydro energy can be effectively </a:t>
            </a:r>
          </a:p>
          <a:p>
            <a:r>
              <a:rPr lang="en-US" sz="1200"/>
              <a:t>harnessed in mountainous regions. You will learn about the unique challenges and </a:t>
            </a:r>
          </a:p>
          <a:p>
            <a:r>
              <a:rPr lang="en-US" sz="1200"/>
              <a:t>opportunities presented by steep terrains and fast-flowing streams in these areas.</a:t>
            </a:r>
            <a:endParaRPr lang="de-DE" sz="1200"/>
          </a:p>
        </p:txBody>
      </p:sp>
      <p:pic>
        <p:nvPicPr>
          <p:cNvPr id="9" name="Grafik 8" descr="Lupe mit einfarbiger Füllung">
            <a:extLst>
              <a:ext uri="{FF2B5EF4-FFF2-40B4-BE49-F238E27FC236}">
                <a16:creationId xmlns:a16="http://schemas.microsoft.com/office/drawing/2014/main" id="{88D37CF5-C59A-1981-44FC-D0E430CE24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8932" y="3240851"/>
            <a:ext cx="333865" cy="333865"/>
          </a:xfrm>
          <a:prstGeom prst="rect">
            <a:avLst/>
          </a:prstGeom>
        </p:spPr>
      </p:pic>
      <p:sp>
        <p:nvSpPr>
          <p:cNvPr id="10" name="Untertitel 5">
            <a:extLst>
              <a:ext uri="{FF2B5EF4-FFF2-40B4-BE49-F238E27FC236}">
                <a16:creationId xmlns:a16="http://schemas.microsoft.com/office/drawing/2014/main" id="{34D149E7-23C5-E701-06DD-4C37CBCE00ED}"/>
              </a:ext>
            </a:extLst>
          </p:cNvPr>
          <p:cNvSpPr txBox="1">
            <a:spLocks/>
          </p:cNvSpPr>
          <p:nvPr/>
        </p:nvSpPr>
        <p:spPr>
          <a:xfrm>
            <a:off x="1142660" y="2958276"/>
            <a:ext cx="11177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1" name="Ellipse 10">
            <a:extLst>
              <a:ext uri="{FF2B5EF4-FFF2-40B4-BE49-F238E27FC236}">
                <a16:creationId xmlns:a16="http://schemas.microsoft.com/office/drawing/2014/main" id="{ABF342EC-BBA4-8333-249A-17C64E3CE959}"/>
              </a:ext>
            </a:extLst>
          </p:cNvPr>
          <p:cNvSpPr>
            <a:spLocks noChangeAspect="1"/>
          </p:cNvSpPr>
          <p:nvPr/>
        </p:nvSpPr>
        <p:spPr>
          <a:xfrm>
            <a:off x="719138" y="2950648"/>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descr="Skizze mit einfarbiger Füllung">
            <a:extLst>
              <a:ext uri="{FF2B5EF4-FFF2-40B4-BE49-F238E27FC236}">
                <a16:creationId xmlns:a16="http://schemas.microsoft.com/office/drawing/2014/main" id="{81F5EA37-64EB-D882-A9F7-6C98D6B61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3615" y="3014380"/>
            <a:ext cx="379044" cy="379044"/>
          </a:xfrm>
          <a:prstGeom prst="rect">
            <a:avLst/>
          </a:prstGeom>
        </p:spPr>
      </p:pic>
      <p:sp>
        <p:nvSpPr>
          <p:cNvPr id="14" name="Untertitel 3">
            <a:extLst>
              <a:ext uri="{FF2B5EF4-FFF2-40B4-BE49-F238E27FC236}">
                <a16:creationId xmlns:a16="http://schemas.microsoft.com/office/drawing/2014/main" id="{FA4D6810-6547-C2E7-9E19-D6BD9C814506}"/>
              </a:ext>
            </a:extLst>
          </p:cNvPr>
          <p:cNvSpPr txBox="1">
            <a:spLocks/>
          </p:cNvSpPr>
          <p:nvPr/>
        </p:nvSpPr>
        <p:spPr>
          <a:xfrm>
            <a:off x="719138" y="3915457"/>
            <a:ext cx="6122097" cy="599371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Understanding Hydro Energy in Mountainous regions:</a:t>
            </a:r>
            <a:endParaRPr lang="en-US" sz="1200"/>
          </a:p>
          <a:p>
            <a:pPr marL="139700" indent="0"/>
            <a:endParaRPr lang="en-US" sz="1200"/>
          </a:p>
          <a:p>
            <a:r>
              <a:rPr lang="en-US" sz="1200" b="1" u="sng">
                <a:solidFill>
                  <a:schemeClr val="tx1"/>
                </a:solidFill>
              </a:rPr>
              <a:t>Debating Game</a:t>
            </a:r>
          </a:p>
          <a:p>
            <a:endParaRPr lang="en-US" sz="1200">
              <a:solidFill>
                <a:srgbClr val="00B050"/>
              </a:solidFill>
            </a:endParaRPr>
          </a:p>
          <a:p>
            <a:r>
              <a:rPr lang="en-US" sz="1200">
                <a:solidFill>
                  <a:srgbClr val="00B050"/>
                </a:solidFill>
              </a:rPr>
              <a:t>Team GREEN</a:t>
            </a:r>
            <a:r>
              <a:rPr lang="en-US" sz="1200"/>
              <a:t> </a:t>
            </a:r>
            <a:r>
              <a:rPr lang="de-DE" sz="1200" u="sng"/>
              <a:t>Location 1</a:t>
            </a:r>
            <a:r>
              <a:rPr lang="de-DE" sz="1200"/>
              <a:t>: </a:t>
            </a:r>
            <a:r>
              <a:rPr lang="en-US" sz="1200"/>
              <a:t>High up the mountain, meaning a steep incline. </a:t>
            </a:r>
          </a:p>
          <a:p>
            <a:r>
              <a:rPr lang="en-US" sz="1200">
                <a:solidFill>
                  <a:srgbClr val="00B0F0"/>
                </a:solidFill>
              </a:rPr>
              <a:t>Team BLUE</a:t>
            </a:r>
            <a:r>
              <a:rPr lang="en-US" sz="1200"/>
              <a:t> </a:t>
            </a:r>
            <a:r>
              <a:rPr lang="en-US" sz="1200" u="sng"/>
              <a:t>Location 2</a:t>
            </a:r>
            <a:r>
              <a:rPr lang="en-US" sz="1200"/>
              <a:t>: At the bottom of the mountain, meaning the incline is less. steep.</a:t>
            </a:r>
          </a:p>
          <a:p>
            <a:endParaRPr lang="en-US" sz="1200"/>
          </a:p>
          <a:p>
            <a:pPr marL="482600" indent="-342900">
              <a:buClr>
                <a:schemeClr val="accent5"/>
              </a:buClr>
              <a:buSzPct val="121000"/>
              <a:buFont typeface="+mj-lt"/>
              <a:buAutoNum type="arabicPeriod"/>
            </a:pPr>
            <a:r>
              <a:rPr lang="en-US" sz="1200" b="1"/>
              <a:t>Objective</a:t>
            </a:r>
            <a:r>
              <a:rPr lang="en-US" sz="1200"/>
              <a:t>: Each team will argue why their assigned location is the best for building a water wheel to generate energy.</a:t>
            </a:r>
          </a:p>
          <a:p>
            <a:pPr marL="482600" indent="-342900">
              <a:buClr>
                <a:schemeClr val="accent5"/>
              </a:buClr>
              <a:buSzPct val="121000"/>
              <a:buFont typeface="+mj-lt"/>
              <a:buAutoNum type="arabicPeriod"/>
            </a:pPr>
            <a:r>
              <a:rPr lang="en-US" sz="1200" b="1"/>
              <a:t>Focus: </a:t>
            </a:r>
            <a:r>
              <a:rPr lang="en-US" sz="1200"/>
              <a:t>Compare the </a:t>
            </a:r>
            <a:r>
              <a:rPr lang="en-US" sz="1200" b="1"/>
              <a:t>differences in water motion</a:t>
            </a:r>
            <a:r>
              <a:rPr lang="en-US" sz="1200"/>
              <a:t> (speed and force) and </a:t>
            </a:r>
            <a:r>
              <a:rPr lang="en-US" sz="1200" b="1"/>
              <a:t>availability</a:t>
            </a:r>
            <a:r>
              <a:rPr lang="en-US" sz="1200"/>
              <a:t> (volume and consistency) between the two locations. Which location do you think is more environmentally sustainable for building a water wheel, considering the potential impacts on ecosystems and water resources?</a:t>
            </a:r>
          </a:p>
          <a:p>
            <a:pPr marL="482600" indent="-342900">
              <a:buClr>
                <a:schemeClr val="accent5"/>
              </a:buClr>
              <a:buSzPct val="121000"/>
              <a:buFont typeface="+mj-lt"/>
              <a:buAutoNum type="arabicPeriod"/>
            </a:pPr>
            <a:r>
              <a:rPr lang="en-US" sz="1200" b="1"/>
              <a:t>Explain</a:t>
            </a:r>
            <a:r>
              <a:rPr lang="en-US" sz="1200"/>
              <a:t> how these differences affect the performance of a water wheel.</a:t>
            </a:r>
          </a:p>
          <a:p>
            <a:pPr marL="482600" indent="-342900">
              <a:buFont typeface="+mj-lt"/>
              <a:buAutoNum type="arabicPeriod"/>
            </a:pPr>
            <a:endParaRPr lang="en-US" sz="1200"/>
          </a:p>
          <a:p>
            <a:pPr marL="139700" indent="0"/>
            <a:r>
              <a:rPr lang="en-US" sz="1200"/>
              <a:t>You can use this debating structure if you like:</a:t>
            </a:r>
          </a:p>
          <a:p>
            <a:pPr marL="139700" indent="0"/>
            <a:endParaRPr lang="en-US" sz="1200"/>
          </a:p>
          <a:p>
            <a:pPr marL="311150" indent="-171450">
              <a:buClr>
                <a:schemeClr val="accent5"/>
              </a:buClr>
              <a:buSzPct val="121000"/>
              <a:buFont typeface="Arial" panose="020B0604020202020204" pitchFamily="34" charset="0"/>
              <a:buChar char="•"/>
            </a:pPr>
            <a:r>
              <a:rPr lang="en-US" sz="1200" b="1"/>
              <a:t>Opening Statements</a:t>
            </a:r>
            <a:r>
              <a:rPr lang="en-US" sz="1200"/>
              <a:t> (2-4 minutes per team): Present your main argument for why your location is the best.</a:t>
            </a:r>
          </a:p>
          <a:p>
            <a:pPr marL="311150" indent="-171450">
              <a:buClr>
                <a:schemeClr val="accent5"/>
              </a:buClr>
              <a:buSzPct val="121000"/>
              <a:buFont typeface="Arial" panose="020B0604020202020204" pitchFamily="34" charset="0"/>
              <a:buChar char="•"/>
            </a:pPr>
            <a:r>
              <a:rPr lang="en-US" sz="1200" b="1"/>
              <a:t>Counterarguments</a:t>
            </a:r>
            <a:r>
              <a:rPr lang="en-US" sz="1200"/>
              <a:t> (2-4 minutes per team): Address potential weaknesses in your location and critique the opposing team’s position.</a:t>
            </a:r>
          </a:p>
          <a:p>
            <a:pPr marL="311150" indent="-171450">
              <a:buClr>
                <a:schemeClr val="accent5"/>
              </a:buClr>
              <a:buSzPct val="121000"/>
              <a:buFont typeface="Arial" panose="020B0604020202020204" pitchFamily="34" charset="0"/>
              <a:buChar char="•"/>
            </a:pPr>
            <a:r>
              <a:rPr lang="en-US" sz="1200"/>
              <a:t>Rebuttals (1-3 minute per team): Respond to the opposing team’s critiques. </a:t>
            </a:r>
          </a:p>
          <a:p>
            <a:pPr marL="311150" indent="-171450">
              <a:buClr>
                <a:schemeClr val="accent5"/>
              </a:buClr>
              <a:buSzPct val="121000"/>
              <a:buFont typeface="Arial" panose="020B0604020202020204" pitchFamily="34" charset="0"/>
              <a:buChar char="•"/>
            </a:pPr>
            <a:r>
              <a:rPr lang="en-US" sz="1200"/>
              <a:t>Closing </a:t>
            </a:r>
            <a:r>
              <a:rPr lang="en-US" sz="1200" b="1"/>
              <a:t>Statements</a:t>
            </a:r>
            <a:r>
              <a:rPr lang="en-US" sz="1200"/>
              <a:t> (1-2 minutes): Summarize your strongest points.</a:t>
            </a:r>
          </a:p>
          <a:p>
            <a:pPr marL="139700" indent="0"/>
            <a:endParaRPr lang="en-US" sz="1200" b="1"/>
          </a:p>
          <a:p>
            <a:pPr marL="139700" indent="0"/>
            <a:r>
              <a:rPr lang="en-US" sz="1200"/>
              <a:t>NOW! Split into two equal groups. One group will represent </a:t>
            </a:r>
            <a:r>
              <a:rPr lang="en-US" sz="1200" b="1"/>
              <a:t>Team GREEN</a:t>
            </a:r>
            <a:r>
              <a:rPr lang="en-US" sz="1200"/>
              <a:t> (Location 1: High up the mountain), and the other will represent </a:t>
            </a:r>
            <a:r>
              <a:rPr lang="en-US" sz="1200" b="1"/>
              <a:t>Team BLUE</a:t>
            </a:r>
            <a:r>
              <a:rPr lang="en-US" sz="1200"/>
              <a:t> (Location 2: At the bottom of the mountain).</a:t>
            </a:r>
            <a:endParaRPr lang="en-US" sz="1200" b="1"/>
          </a:p>
        </p:txBody>
      </p:sp>
      <p:sp>
        <p:nvSpPr>
          <p:cNvPr id="17" name="Untertitel 5">
            <a:extLst>
              <a:ext uri="{FF2B5EF4-FFF2-40B4-BE49-F238E27FC236}">
                <a16:creationId xmlns:a16="http://schemas.microsoft.com/office/drawing/2014/main" id="{BC197285-C2C8-F5C3-6AF7-91A5B92E0CCE}"/>
              </a:ext>
            </a:extLst>
          </p:cNvPr>
          <p:cNvSpPr txBox="1">
            <a:spLocks/>
          </p:cNvSpPr>
          <p:nvPr/>
        </p:nvSpPr>
        <p:spPr>
          <a:xfrm>
            <a:off x="738608" y="3542177"/>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spTree>
    <p:extLst>
      <p:ext uri="{BB962C8B-B14F-4D97-AF65-F5344CB8AC3E}">
        <p14:creationId xmlns:p14="http://schemas.microsoft.com/office/powerpoint/2010/main" val="20190236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C6257F-7C4C-647C-1029-6A0B7AA0A8E2}"/>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5E5EE852-E052-E8BC-2B3E-17786CF6235C}"/>
              </a:ext>
            </a:extLst>
          </p:cNvPr>
          <p:cNvSpPr>
            <a:spLocks noGrp="1"/>
          </p:cNvSpPr>
          <p:nvPr>
            <p:ph type="sldNum" sz="quarter" idx="16"/>
          </p:nvPr>
        </p:nvSpPr>
        <p:spPr/>
        <p:txBody>
          <a:bodyPr/>
          <a:lstStyle/>
          <a:p>
            <a:fld id="{DF7F771E-9578-4C04-B869-01AF4C35C90C}" type="slidenum">
              <a:rPr lang="de-DE" smtClean="0"/>
              <a:t>25</a:t>
            </a:fld>
            <a:endParaRPr lang="de-DE"/>
          </a:p>
        </p:txBody>
      </p:sp>
      <p:pic>
        <p:nvPicPr>
          <p:cNvPr id="23" name="Grafik 22" descr="Skizze mit einfarbiger Füllung">
            <a:extLst>
              <a:ext uri="{FF2B5EF4-FFF2-40B4-BE49-F238E27FC236}">
                <a16:creationId xmlns:a16="http://schemas.microsoft.com/office/drawing/2014/main" id="{1568A934-10CE-4BDE-729B-A6C0325CB5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4374" y="1780321"/>
            <a:ext cx="379044" cy="379044"/>
          </a:xfrm>
          <a:prstGeom prst="rect">
            <a:avLst/>
          </a:prstGeom>
        </p:spPr>
      </p:pic>
      <p:pic>
        <p:nvPicPr>
          <p:cNvPr id="5" name="Grafik 19" descr="Lesezeichen mit einfarbiger Füllung">
            <a:extLst>
              <a:ext uri="{FF2B5EF4-FFF2-40B4-BE49-F238E27FC236}">
                <a16:creationId xmlns:a16="http://schemas.microsoft.com/office/drawing/2014/main" id="{83299425-8FB4-49F4-E3C1-52C7EE6C5F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67150" y="1328509"/>
            <a:ext cx="404450" cy="404450"/>
          </a:xfrm>
          <a:prstGeom prst="rect">
            <a:avLst/>
          </a:prstGeom>
        </p:spPr>
      </p:pic>
      <p:pic>
        <p:nvPicPr>
          <p:cNvPr id="31" name="Grafik 30" descr="Lupe mit einfarbiger Füllung">
            <a:extLst>
              <a:ext uri="{FF2B5EF4-FFF2-40B4-BE49-F238E27FC236}">
                <a16:creationId xmlns:a16="http://schemas.microsoft.com/office/drawing/2014/main" id="{E9FBE2A6-67A5-4E5B-3C03-F708AC843E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8601" y="2728961"/>
            <a:ext cx="333865" cy="333865"/>
          </a:xfrm>
          <a:prstGeom prst="rect">
            <a:avLst/>
          </a:prstGeom>
        </p:spPr>
      </p:pic>
      <p:sp>
        <p:nvSpPr>
          <p:cNvPr id="18" name="Untertitel 3">
            <a:extLst>
              <a:ext uri="{FF2B5EF4-FFF2-40B4-BE49-F238E27FC236}">
                <a16:creationId xmlns:a16="http://schemas.microsoft.com/office/drawing/2014/main" id="{474A3E3E-CDAF-8EC4-F1D7-B4A4A3126752}"/>
              </a:ext>
            </a:extLst>
          </p:cNvPr>
          <p:cNvSpPr txBox="1">
            <a:spLocks/>
          </p:cNvSpPr>
          <p:nvPr/>
        </p:nvSpPr>
        <p:spPr>
          <a:xfrm>
            <a:off x="827248" y="731485"/>
            <a:ext cx="5713537" cy="88824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endParaRPr lang="en-US" b="1"/>
          </a:p>
        </p:txBody>
      </p:sp>
      <p:pic>
        <p:nvPicPr>
          <p:cNvPr id="12" name="Grafik 11" descr="Skizze mit einfarbiger Füllung">
            <a:extLst>
              <a:ext uri="{FF2B5EF4-FFF2-40B4-BE49-F238E27FC236}">
                <a16:creationId xmlns:a16="http://schemas.microsoft.com/office/drawing/2014/main" id="{57385CF6-5511-F5D4-8CA9-15868E49AD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5489" y="6163188"/>
            <a:ext cx="379044" cy="379044"/>
          </a:xfrm>
          <a:prstGeom prst="rect">
            <a:avLst/>
          </a:prstGeom>
        </p:spPr>
      </p:pic>
      <p:pic>
        <p:nvPicPr>
          <p:cNvPr id="16" name="Grafik 19" descr="Lesezeichen mit einfarbiger Füllung">
            <a:extLst>
              <a:ext uri="{FF2B5EF4-FFF2-40B4-BE49-F238E27FC236}">
                <a16:creationId xmlns:a16="http://schemas.microsoft.com/office/drawing/2014/main" id="{785BB4F5-B34B-7162-265B-619434B8A3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08265" y="5711376"/>
            <a:ext cx="404450" cy="404450"/>
          </a:xfrm>
          <a:prstGeom prst="rect">
            <a:avLst/>
          </a:prstGeom>
        </p:spPr>
      </p:pic>
      <p:sp>
        <p:nvSpPr>
          <p:cNvPr id="19" name="Untertitel 2">
            <a:extLst>
              <a:ext uri="{FF2B5EF4-FFF2-40B4-BE49-F238E27FC236}">
                <a16:creationId xmlns:a16="http://schemas.microsoft.com/office/drawing/2014/main" id="{1CC8851F-F700-5307-9D5F-84B0851BBFEC}"/>
              </a:ext>
            </a:extLst>
          </p:cNvPr>
          <p:cNvSpPr txBox="1">
            <a:spLocks/>
          </p:cNvSpPr>
          <p:nvPr/>
        </p:nvSpPr>
        <p:spPr>
          <a:xfrm>
            <a:off x="1226285" y="6391145"/>
            <a:ext cx="5281980" cy="282504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a:buFont typeface="Arial" panose="020B0604020202020204" pitchFamily="34" charset="0"/>
              <a:buChar char="•"/>
            </a:pPr>
            <a:endParaRPr lang="en-US"/>
          </a:p>
          <a:p>
            <a:pPr>
              <a:buFont typeface="Arial" panose="020B0604020202020204" pitchFamily="34" charset="0"/>
              <a:buChar char="•"/>
            </a:pPr>
            <a:endParaRPr lang="en-US"/>
          </a:p>
        </p:txBody>
      </p:sp>
      <p:sp>
        <p:nvSpPr>
          <p:cNvPr id="2" name="Textfeld 11">
            <a:extLst>
              <a:ext uri="{FF2B5EF4-FFF2-40B4-BE49-F238E27FC236}">
                <a16:creationId xmlns:a16="http://schemas.microsoft.com/office/drawing/2014/main" id="{38C26FF5-93E2-B31E-E2E9-72703EE66801}"/>
              </a:ext>
            </a:extLst>
          </p:cNvPr>
          <p:cNvSpPr txBox="1"/>
          <p:nvPr/>
        </p:nvSpPr>
        <p:spPr>
          <a:xfrm>
            <a:off x="842065" y="1277938"/>
            <a:ext cx="5919009" cy="833596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b="1" dirty="0">
                <a:solidFill>
                  <a:srgbClr val="FF0000"/>
                </a:solidFill>
                <a:latin typeface="Sofia Sans" panose="020B0604020202020204" charset="0"/>
              </a:rPr>
              <a:t>Team GREEN Argument (Location 1 - High Up the Mountain)</a:t>
            </a:r>
          </a:p>
          <a:p>
            <a:endParaRPr lang="en-US" sz="1200" dirty="0">
              <a:solidFill>
                <a:srgbClr val="FF0000"/>
              </a:solidFill>
              <a:latin typeface="Sofia Sans" panose="020B0604020202020204" charset="0"/>
            </a:endParaRPr>
          </a:p>
          <a:p>
            <a:r>
              <a:rPr lang="en-US" sz="1200" b="1" u="sng" dirty="0">
                <a:solidFill>
                  <a:srgbClr val="FF0000"/>
                </a:solidFill>
                <a:latin typeface="Sofia Sans" panose="020B0604020202020204" charset="0"/>
              </a:rPr>
              <a:t>Arguments - Energy</a:t>
            </a:r>
          </a:p>
          <a:p>
            <a:r>
              <a:rPr lang="en-US" sz="1200" dirty="0">
                <a:solidFill>
                  <a:srgbClr val="FF0000"/>
                </a:solidFill>
                <a:latin typeface="Sofia Sans" panose="020B0604020202020204" charset="0"/>
              </a:rPr>
              <a:t>The steep incline at Location 1 means water gains significant velocity due to gravity as it flows downhill. A water wheel at this location would benefit from this increased water motion, as the kinetic energy of faster-moving water translates into more rotational force on the wheel. Additionally, this location ensures consistent water flow due to its position at the start of the mountain stream, reducing the risk of interruptions in water supply caused by upstream usage or diversion. Overall, the greater speed and uninterrupted flow make this location ideal for generating hydro energy efficiently.</a:t>
            </a:r>
          </a:p>
          <a:p>
            <a:endParaRPr lang="en-US" sz="1200" dirty="0">
              <a:solidFill>
                <a:srgbClr val="FF0000"/>
              </a:solidFill>
              <a:latin typeface="Sofia Sans" panose="020B0604020202020204" charset="0"/>
            </a:endParaRPr>
          </a:p>
          <a:p>
            <a:r>
              <a:rPr lang="en-US" sz="1200" u="sng" dirty="0">
                <a:solidFill>
                  <a:srgbClr val="FF0000"/>
                </a:solidFill>
                <a:latin typeface="Sofia Sans" panose="020B0604020202020204" charset="0"/>
              </a:rPr>
              <a:t>Arguments - Environment</a:t>
            </a:r>
          </a:p>
          <a:p>
            <a:r>
              <a:rPr lang="en-US" sz="1200" dirty="0">
                <a:solidFill>
                  <a:srgbClr val="FF0000"/>
                </a:solidFill>
                <a:latin typeface="Sofia Sans" panose="020B0604020202020204" charset="0"/>
              </a:rPr>
              <a:t>Building the water wheel high up the mountain minimizes the environmental impact because the water flow here is typically faster and </a:t>
            </a:r>
            <a:r>
              <a:rPr lang="en-US" sz="1200" b="1" dirty="0">
                <a:solidFill>
                  <a:srgbClr val="FF0000"/>
                </a:solidFill>
                <a:latin typeface="Sofia Sans" panose="020B0604020202020204" charset="0"/>
              </a:rPr>
              <a:t>narrower</a:t>
            </a:r>
            <a:r>
              <a:rPr lang="en-US" sz="1200" dirty="0">
                <a:solidFill>
                  <a:srgbClr val="FF0000"/>
                </a:solidFill>
                <a:latin typeface="Sofia Sans" panose="020B0604020202020204" charset="0"/>
              </a:rPr>
              <a:t>, </a:t>
            </a:r>
            <a:r>
              <a:rPr lang="en-US" sz="1200" b="1" dirty="0">
                <a:solidFill>
                  <a:srgbClr val="FF0000"/>
                </a:solidFill>
                <a:latin typeface="Sofia Sans" panose="020B0604020202020204" charset="0"/>
              </a:rPr>
              <a:t>reducing</a:t>
            </a:r>
            <a:r>
              <a:rPr lang="en-US" sz="1200" dirty="0">
                <a:solidFill>
                  <a:srgbClr val="FF0000"/>
                </a:solidFill>
                <a:latin typeface="Sofia Sans" panose="020B0604020202020204" charset="0"/>
              </a:rPr>
              <a:t> the</a:t>
            </a:r>
            <a:r>
              <a:rPr lang="en-US" sz="1200" b="1" dirty="0">
                <a:solidFill>
                  <a:srgbClr val="FF0000"/>
                </a:solidFill>
                <a:latin typeface="Sofia Sans" panose="020B0604020202020204" charset="0"/>
              </a:rPr>
              <a:t> area affected </a:t>
            </a:r>
            <a:r>
              <a:rPr lang="en-US" sz="1200" dirty="0">
                <a:solidFill>
                  <a:srgbClr val="FF0000"/>
                </a:solidFill>
                <a:latin typeface="Sofia Sans" panose="020B0604020202020204" charset="0"/>
              </a:rPr>
              <a:t>by construction. </a:t>
            </a:r>
            <a:r>
              <a:rPr lang="en-US" sz="1200" b="1" dirty="0">
                <a:solidFill>
                  <a:srgbClr val="FF0000"/>
                </a:solidFill>
                <a:latin typeface="Sofia Sans" panose="020B0604020202020204" charset="0"/>
              </a:rPr>
              <a:t>Additionally, the reduced sediment accumulation at this elevation means less disruption to aquatic ecosystems</a:t>
            </a:r>
            <a:r>
              <a:rPr lang="en-US" sz="1200" dirty="0">
                <a:solidFill>
                  <a:srgbClr val="FF0000"/>
                </a:solidFill>
                <a:latin typeface="Sofia Sans" panose="020B0604020202020204" charset="0"/>
              </a:rPr>
              <a:t>. Since the water flow remains largely not diverted, it minimizes harm to downstream habitats and preserves the natural water cycle.</a:t>
            </a:r>
          </a:p>
          <a:p>
            <a:endParaRPr lang="en-US" sz="1200" dirty="0">
              <a:solidFill>
                <a:srgbClr val="FF0000"/>
              </a:solidFill>
              <a:latin typeface="Sofia Sans" panose="020B0604020202020204" charset="0"/>
            </a:endParaRPr>
          </a:p>
          <a:p>
            <a:endParaRPr lang="en-US" sz="1200" dirty="0">
              <a:solidFill>
                <a:srgbClr val="FF0000"/>
              </a:solidFill>
              <a:latin typeface="Sofia Sans" panose="020B0604020202020204" charset="0"/>
            </a:endParaRPr>
          </a:p>
          <a:p>
            <a:endParaRPr lang="en-US" sz="1200" dirty="0">
              <a:solidFill>
                <a:srgbClr val="FF0000"/>
              </a:solidFill>
              <a:latin typeface="Sofia Sans" panose="020B0604020202020204" charset="0"/>
            </a:endParaRPr>
          </a:p>
          <a:p>
            <a:r>
              <a:rPr lang="en-US" sz="1200" dirty="0">
                <a:solidFill>
                  <a:srgbClr val="FF0000"/>
                </a:solidFill>
                <a:latin typeface="Sofia Sans" panose="020B0604020202020204" charset="0"/>
              </a:rPr>
              <a:t>----</a:t>
            </a:r>
          </a:p>
          <a:p>
            <a:endParaRPr lang="en-US" sz="1200" dirty="0">
              <a:solidFill>
                <a:srgbClr val="FF0000"/>
              </a:solidFill>
              <a:latin typeface="Sofia Sans" panose="020B0604020202020204" charset="0"/>
            </a:endParaRPr>
          </a:p>
          <a:p>
            <a:endParaRPr lang="en-US" sz="1200" dirty="0">
              <a:solidFill>
                <a:srgbClr val="FF0000"/>
              </a:solidFill>
              <a:latin typeface="Sofia Sans" panose="020B0604020202020204" charset="0"/>
            </a:endParaRPr>
          </a:p>
          <a:p>
            <a:r>
              <a:rPr lang="en-US" sz="1200" b="1" dirty="0">
                <a:solidFill>
                  <a:srgbClr val="FF0000"/>
                </a:solidFill>
                <a:latin typeface="Sofia Sans" panose="020B0604020202020204" charset="0"/>
              </a:rPr>
              <a:t>Team BLUE Argument (Location 2 - Bottom of the Mountain)</a:t>
            </a:r>
          </a:p>
          <a:p>
            <a:endParaRPr lang="en-US" sz="1200" dirty="0">
              <a:solidFill>
                <a:srgbClr val="FF0000"/>
              </a:solidFill>
              <a:latin typeface="Sofia Sans" panose="020B0604020202020204" charset="0"/>
            </a:endParaRPr>
          </a:p>
          <a:p>
            <a:r>
              <a:rPr lang="en-US" sz="1200" b="1" u="sng" dirty="0">
                <a:solidFill>
                  <a:srgbClr val="FF0000"/>
                </a:solidFill>
                <a:latin typeface="Sofia Sans" panose="020B0604020202020204" charset="0"/>
              </a:rPr>
              <a:t>Arguments - Energy</a:t>
            </a:r>
          </a:p>
          <a:p>
            <a:r>
              <a:rPr lang="en-US" sz="1200" dirty="0">
                <a:solidFill>
                  <a:srgbClr val="FF0000"/>
                </a:solidFill>
                <a:latin typeface="Sofia Sans" panose="020B0604020202020204" charset="0"/>
              </a:rPr>
              <a:t>The bottom of the mountain has a gentler incline, which allows for a broader collection of water from tributaries and runoff as streams converge. This leads to a larger volume of water available to power the water wheel. While the velocity may be slower compared to higher up the mountain, the increased mass of water compensates, as energy generation also depends on the volume of water interacting with the wheel. Furthermore, maintaining and accessing the water wheel is more practical at the base of the mountain, making this location better suited for sustainable and consistent hydro energy production.</a:t>
            </a:r>
          </a:p>
          <a:p>
            <a:endParaRPr lang="en-US" sz="1200" u="sng" dirty="0">
              <a:solidFill>
                <a:srgbClr val="FF0000"/>
              </a:solidFill>
              <a:latin typeface="Sofia Sans" panose="020B0604020202020204" charset="0"/>
            </a:endParaRPr>
          </a:p>
          <a:p>
            <a:r>
              <a:rPr lang="en-US" sz="1200" b="1" u="sng" dirty="0">
                <a:solidFill>
                  <a:srgbClr val="FF0000"/>
                </a:solidFill>
                <a:latin typeface="Sofia Sans" panose="020B0604020202020204" charset="0"/>
              </a:rPr>
              <a:t>Arguments – Environment</a:t>
            </a:r>
            <a:endParaRPr lang="en-US" sz="1200" b="1" u="sng" dirty="0">
              <a:latin typeface="Sofia Sans" panose="020B0604020202020204" charset="0"/>
            </a:endParaRPr>
          </a:p>
          <a:p>
            <a:r>
              <a:rPr lang="en-US" sz="1200" dirty="0">
                <a:solidFill>
                  <a:srgbClr val="FF0000"/>
                </a:solidFill>
                <a:latin typeface="Sofia Sans" panose="020B0604020202020204" charset="0"/>
              </a:rPr>
              <a:t>The bottom of the mountain is more environmentally sustainable because water wheels here can harness larger water volumes with less reliance on high-speed flow. This </a:t>
            </a:r>
            <a:r>
              <a:rPr lang="en-US" sz="1200" b="1" dirty="0">
                <a:solidFill>
                  <a:srgbClr val="FF0000"/>
                </a:solidFill>
                <a:latin typeface="Sofia Sans" panose="020B0604020202020204" charset="0"/>
              </a:rPr>
              <a:t>reduces the need for major infrastructure</a:t>
            </a:r>
            <a:r>
              <a:rPr lang="en-US" sz="1200" dirty="0">
                <a:solidFill>
                  <a:srgbClr val="FF0000"/>
                </a:solidFill>
                <a:latin typeface="Sofia Sans" panose="020B0604020202020204" charset="0"/>
              </a:rPr>
              <a:t>, preserving the mountain's natural landscape and </a:t>
            </a:r>
            <a:r>
              <a:rPr lang="en-US" sz="1200" b="1" dirty="0">
                <a:solidFill>
                  <a:srgbClr val="FF0000"/>
                </a:solidFill>
                <a:latin typeface="Sofia Sans" panose="020B0604020202020204" charset="0"/>
              </a:rPr>
              <a:t>minimizing ecological disruption</a:t>
            </a:r>
            <a:r>
              <a:rPr lang="en-US" sz="1200" dirty="0">
                <a:solidFill>
                  <a:srgbClr val="FF0000"/>
                </a:solidFill>
                <a:latin typeface="Sofia Sans" panose="020B0604020202020204" charset="0"/>
              </a:rPr>
              <a:t>. Furthermore, being closer to converging streams allows for </a:t>
            </a:r>
            <a:r>
              <a:rPr lang="en-US" sz="1200" b="1" dirty="0">
                <a:solidFill>
                  <a:srgbClr val="FF0000"/>
                </a:solidFill>
                <a:latin typeface="Sofia Sans" panose="020B0604020202020204" charset="0"/>
              </a:rPr>
              <a:t>broader energy generation with less fragmentation of aquatic habitats upstream</a:t>
            </a:r>
            <a:r>
              <a:rPr lang="en-US" sz="1200" dirty="0">
                <a:latin typeface="Sofia Sans" panose="020B0604020202020204" charset="0"/>
              </a:rPr>
              <a:t>.</a:t>
            </a:r>
            <a:endParaRPr lang="en-US" sz="1200" b="1" dirty="0">
              <a:latin typeface="Sofia Sans" panose="020B0604020202020204" charset="0"/>
            </a:endParaRPr>
          </a:p>
        </p:txBody>
      </p:sp>
    </p:spTree>
    <p:extLst>
      <p:ext uri="{BB962C8B-B14F-4D97-AF65-F5344CB8AC3E}">
        <p14:creationId xmlns:p14="http://schemas.microsoft.com/office/powerpoint/2010/main" val="3409542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792F3-3332-FA9E-B6AA-E8F29AC37A58}"/>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0A7B233-9444-A1AC-41BB-35E213420750}"/>
              </a:ext>
            </a:extLst>
          </p:cNvPr>
          <p:cNvSpPr>
            <a:spLocks noGrp="1"/>
          </p:cNvSpPr>
          <p:nvPr>
            <p:ph type="sldNum" sz="quarter" idx="16"/>
          </p:nvPr>
        </p:nvSpPr>
        <p:spPr/>
        <p:txBody>
          <a:bodyPr/>
          <a:lstStyle/>
          <a:p>
            <a:fld id="{DF7F771E-9578-4C04-B869-01AF4C35C90C}" type="slidenum">
              <a:rPr lang="de-DE" smtClean="0"/>
              <a:t>26</a:t>
            </a:fld>
            <a:endParaRPr lang="de-DE"/>
          </a:p>
        </p:txBody>
      </p:sp>
      <p:pic>
        <p:nvPicPr>
          <p:cNvPr id="23" name="Grafik 22" descr="Skizze mit einfarbiger Füllung">
            <a:extLst>
              <a:ext uri="{FF2B5EF4-FFF2-40B4-BE49-F238E27FC236}">
                <a16:creationId xmlns:a16="http://schemas.microsoft.com/office/drawing/2014/main" id="{FF9D828A-A5D4-E22C-F07C-5646E3DA01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3761" y="2133094"/>
            <a:ext cx="379044" cy="379044"/>
          </a:xfrm>
          <a:prstGeom prst="rect">
            <a:avLst/>
          </a:prstGeom>
        </p:spPr>
      </p:pic>
      <p:pic>
        <p:nvPicPr>
          <p:cNvPr id="5" name="Grafik 19" descr="Lesezeichen mit einfarbiger Füllung">
            <a:extLst>
              <a:ext uri="{FF2B5EF4-FFF2-40B4-BE49-F238E27FC236}">
                <a16:creationId xmlns:a16="http://schemas.microsoft.com/office/drawing/2014/main" id="{57C360B0-AD7D-4CC0-0011-6684870464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76537" y="1681282"/>
            <a:ext cx="404450" cy="404450"/>
          </a:xfrm>
          <a:prstGeom prst="rect">
            <a:avLst/>
          </a:prstGeom>
        </p:spPr>
      </p:pic>
      <p:pic>
        <p:nvPicPr>
          <p:cNvPr id="31" name="Grafik 30" descr="Lupe mit einfarbiger Füllung">
            <a:extLst>
              <a:ext uri="{FF2B5EF4-FFF2-40B4-BE49-F238E27FC236}">
                <a16:creationId xmlns:a16="http://schemas.microsoft.com/office/drawing/2014/main" id="{65DE9A22-6518-752E-DE25-55D4D1182A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7988" y="3081734"/>
            <a:ext cx="333865" cy="333865"/>
          </a:xfrm>
          <a:prstGeom prst="rect">
            <a:avLst/>
          </a:prstGeom>
        </p:spPr>
      </p:pic>
      <p:pic>
        <p:nvPicPr>
          <p:cNvPr id="12" name="Grafik 11" descr="Skizze mit einfarbiger Füllung">
            <a:extLst>
              <a:ext uri="{FF2B5EF4-FFF2-40B4-BE49-F238E27FC236}">
                <a16:creationId xmlns:a16="http://schemas.microsoft.com/office/drawing/2014/main" id="{F70C14AC-1B0D-4952-C913-C32604C7D9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4049" y="1857597"/>
            <a:ext cx="379044" cy="379044"/>
          </a:xfrm>
          <a:prstGeom prst="rect">
            <a:avLst/>
          </a:prstGeom>
        </p:spPr>
      </p:pic>
      <p:sp>
        <p:nvSpPr>
          <p:cNvPr id="13" name="Rechteck 1">
            <a:extLst>
              <a:ext uri="{FF2B5EF4-FFF2-40B4-BE49-F238E27FC236}">
                <a16:creationId xmlns:a16="http://schemas.microsoft.com/office/drawing/2014/main" id="{C8C10171-2081-D366-4487-66E6E8FB03E4}"/>
              </a:ext>
            </a:extLst>
          </p:cNvPr>
          <p:cNvSpPr/>
          <p:nvPr/>
        </p:nvSpPr>
        <p:spPr>
          <a:xfrm>
            <a:off x="719138" y="1596646"/>
            <a:ext cx="5740172" cy="7237569"/>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2">
            <a:extLst>
              <a:ext uri="{FF2B5EF4-FFF2-40B4-BE49-F238E27FC236}">
                <a16:creationId xmlns:a16="http://schemas.microsoft.com/office/drawing/2014/main" id="{5893EEF8-7FE0-CDB4-CC54-9C2AFD76BD92}"/>
              </a:ext>
            </a:extLst>
          </p:cNvPr>
          <p:cNvSpPr>
            <a:spLocks noChangeAspect="1"/>
          </p:cNvSpPr>
          <p:nvPr/>
        </p:nvSpPr>
        <p:spPr>
          <a:xfrm>
            <a:off x="612897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9" descr="Lesezeichen mit einfarbiger Füllung">
            <a:extLst>
              <a:ext uri="{FF2B5EF4-FFF2-40B4-BE49-F238E27FC236}">
                <a16:creationId xmlns:a16="http://schemas.microsoft.com/office/drawing/2014/main" id="{8EEBFAF8-3F34-E2C1-42DA-C696A5F1BD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6825" y="1405785"/>
            <a:ext cx="404450" cy="404450"/>
          </a:xfrm>
          <a:prstGeom prst="rect">
            <a:avLst/>
          </a:prstGeom>
        </p:spPr>
      </p:pic>
      <p:sp>
        <p:nvSpPr>
          <p:cNvPr id="17" name="Untertitel 5">
            <a:extLst>
              <a:ext uri="{FF2B5EF4-FFF2-40B4-BE49-F238E27FC236}">
                <a16:creationId xmlns:a16="http://schemas.microsoft.com/office/drawing/2014/main" id="{B15CAFE5-ADC5-3344-5427-EFE3A3E89E3B}"/>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9" name="Untertitel 2">
            <a:extLst>
              <a:ext uri="{FF2B5EF4-FFF2-40B4-BE49-F238E27FC236}">
                <a16:creationId xmlns:a16="http://schemas.microsoft.com/office/drawing/2014/main" id="{732F07EB-D85F-F12F-1744-81104F6D0259}"/>
              </a:ext>
            </a:extLst>
          </p:cNvPr>
          <p:cNvSpPr txBox="1">
            <a:spLocks/>
          </p:cNvSpPr>
          <p:nvPr/>
        </p:nvSpPr>
        <p:spPr>
          <a:xfrm>
            <a:off x="974845" y="2085554"/>
            <a:ext cx="5281980" cy="282504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a:buFont typeface="Arial" panose="020B0604020202020204" pitchFamily="34" charset="0"/>
              <a:buChar char="•"/>
            </a:pPr>
            <a:endParaRPr lang="en-US"/>
          </a:p>
          <a:p>
            <a:pPr>
              <a:buFont typeface="Arial" panose="020B0604020202020204" pitchFamily="34" charset="0"/>
              <a:buChar char="•"/>
            </a:pPr>
            <a:endParaRPr lang="en-US"/>
          </a:p>
        </p:txBody>
      </p:sp>
      <p:sp>
        <p:nvSpPr>
          <p:cNvPr id="2" name="Untertitel 2">
            <a:extLst>
              <a:ext uri="{FF2B5EF4-FFF2-40B4-BE49-F238E27FC236}">
                <a16:creationId xmlns:a16="http://schemas.microsoft.com/office/drawing/2014/main" id="{292A5099-EDC6-3514-6EF9-37401F49C509}"/>
              </a:ext>
            </a:extLst>
          </p:cNvPr>
          <p:cNvSpPr>
            <a:spLocks noGrp="1"/>
          </p:cNvSpPr>
          <p:nvPr>
            <p:ph type="subTitle" idx="1"/>
          </p:nvPr>
        </p:nvSpPr>
        <p:spPr>
          <a:xfrm>
            <a:off x="894557" y="2166040"/>
            <a:ext cx="5281980" cy="5997233"/>
          </a:xfrm>
        </p:spPr>
        <p:txBody>
          <a:bodyPr/>
          <a:lstStyle/>
          <a:p>
            <a:r>
              <a:rPr lang="en-US" sz="1200" u="sng">
                <a:solidFill>
                  <a:schemeClr val="tx1"/>
                </a:solidFill>
              </a:rPr>
              <a:t>Definition – Waterfall Effect</a:t>
            </a:r>
          </a:p>
          <a:p>
            <a:endParaRPr lang="en-US" sz="1200">
              <a:solidFill>
                <a:schemeClr val="tx1"/>
              </a:solidFill>
            </a:endParaRPr>
          </a:p>
          <a:p>
            <a:pPr marL="311150" indent="-171450">
              <a:buClr>
                <a:schemeClr val="accent5"/>
              </a:buClr>
              <a:buFont typeface="Arial" panose="020B0604020202020204" pitchFamily="34" charset="0"/>
              <a:buChar char="•"/>
            </a:pPr>
            <a:r>
              <a:rPr lang="en-US" sz="1200"/>
              <a:t>The waterfall effect refers to the energy generated by water falling from a height.</a:t>
            </a:r>
          </a:p>
          <a:p>
            <a:pPr marL="311150" indent="-171450">
              <a:buClr>
                <a:schemeClr val="accent5"/>
              </a:buClr>
              <a:buFont typeface="Arial" panose="020B0604020202020204" pitchFamily="34" charset="0"/>
              <a:buChar char="•"/>
            </a:pPr>
            <a:r>
              <a:rPr lang="en-US" sz="1200"/>
              <a:t>This is a key principle behind many hydroelectric systems and works because of gravitational potential energy converting into kinetic energy which then can be converted into mechanical or electrical energy.</a:t>
            </a:r>
          </a:p>
          <a:p>
            <a:pPr marL="311150" indent="-171450">
              <a:buClr>
                <a:schemeClr val="accent5"/>
              </a:buClr>
              <a:buFont typeface="Arial" panose="020B0604020202020204" pitchFamily="34" charset="0"/>
              <a:buChar char="•"/>
            </a:pPr>
            <a:r>
              <a:rPr lang="en-US" sz="1200"/>
              <a:t>In other words: Water at the top of a hill (elevated) = Stored Energy (Potential Energy) (Remember the rubber band analogy!)</a:t>
            </a:r>
          </a:p>
          <a:p>
            <a:pPr marL="311150" indent="-171450">
              <a:buClr>
                <a:schemeClr val="accent5"/>
              </a:buClr>
              <a:buFont typeface="Arial" panose="020B0604020202020204" pitchFamily="34" charset="0"/>
              <a:buChar char="•"/>
            </a:pPr>
            <a:r>
              <a:rPr lang="en-US" sz="1200"/>
              <a:t>Falling Water = Energy in Motion: When the water starts falling, gravity pulls it down, turning that stored energy into motion. </a:t>
            </a:r>
          </a:p>
          <a:p>
            <a:pPr marL="311150" indent="-171450">
              <a:buClr>
                <a:schemeClr val="accent5"/>
              </a:buClr>
              <a:buFont typeface="Arial" panose="020B0604020202020204" pitchFamily="34" charset="0"/>
              <a:buChar char="•"/>
            </a:pPr>
            <a:r>
              <a:rPr lang="en-US" sz="1200"/>
              <a:t>Spinning the Water Wheel = Using the Motion: </a:t>
            </a:r>
          </a:p>
          <a:p>
            <a:pPr marL="311150" indent="-171450">
              <a:buClr>
                <a:schemeClr val="accent5"/>
              </a:buClr>
              <a:buFont typeface="Arial" panose="020B0604020202020204" pitchFamily="34" charset="0"/>
              <a:buChar char="•"/>
            </a:pPr>
            <a:r>
              <a:rPr lang="en-US" sz="1200"/>
              <a:t>At the bottom, the fast-moving water spins a big wheel (turbine)</a:t>
            </a:r>
          </a:p>
          <a:p>
            <a:pPr marL="311150" indent="-171450">
              <a:buClr>
                <a:schemeClr val="accent5"/>
              </a:buClr>
              <a:buFont typeface="Arial" panose="020B0604020202020204" pitchFamily="34" charset="0"/>
              <a:buChar char="•"/>
            </a:pPr>
            <a:r>
              <a:rPr lang="en-US" sz="1200"/>
              <a:t>The Waterfall Effect works for small systems like a water wheel, and large system like a huge hydroelectric dam in principle equally.</a:t>
            </a:r>
          </a:p>
          <a:p>
            <a:pPr>
              <a:buFont typeface="Arial" panose="020B0604020202020204" pitchFamily="34" charset="0"/>
              <a:buChar char="•"/>
            </a:pPr>
            <a:endParaRPr lang="en-US" sz="1200"/>
          </a:p>
          <a:p>
            <a:pPr marL="139700" indent="0"/>
            <a:endParaRPr lang="en-US" sz="1200" b="0" i="0" u="none" strike="noStrike" cap="none">
              <a:solidFill>
                <a:schemeClr val="dk1"/>
              </a:solidFill>
              <a:latin typeface="Sofia Sans"/>
              <a:ea typeface="Sofia Sans"/>
              <a:cs typeface="Sofia Sans"/>
              <a:sym typeface="Sofia Sans"/>
            </a:endParaRPr>
          </a:p>
          <a:p>
            <a:pPr marL="139700" indent="0"/>
            <a:r>
              <a:rPr lang="en-US" sz="1200" b="0" i="0" u="sng" strike="noStrike" cap="none">
                <a:solidFill>
                  <a:schemeClr val="dk1"/>
                </a:solidFill>
                <a:latin typeface="Sofia Sans"/>
                <a:ea typeface="Sofia Sans"/>
                <a:cs typeface="Sofia Sans"/>
                <a:sym typeface="Sofia Sans"/>
              </a:rPr>
              <a:t>Why Hydro Energy in Mountainous Regions Matters</a:t>
            </a:r>
          </a:p>
          <a:p>
            <a:pPr marL="139700" indent="0"/>
            <a:endParaRPr lang="en-US" sz="1200"/>
          </a:p>
          <a:p>
            <a:pPr marL="311150" indent="-171450">
              <a:buClr>
                <a:schemeClr val="accent5"/>
              </a:buClr>
              <a:buFont typeface="Arial" panose="020B0604020202020204" pitchFamily="34" charset="0"/>
              <a:buChar char="•"/>
            </a:pPr>
            <a:r>
              <a:rPr lang="en-US" sz="1200" b="1"/>
              <a:t>Efficient Energy Generation</a:t>
            </a:r>
            <a:r>
              <a:rPr lang="en-US" sz="1200"/>
              <a:t>: Mountainous regions have fast-flowing rivers and steep inclines, ideal for converting gravitational potential energy into hydroelectric power.</a:t>
            </a:r>
          </a:p>
          <a:p>
            <a:pPr marL="311150" indent="-171450">
              <a:buClr>
                <a:schemeClr val="accent5"/>
              </a:buClr>
              <a:buFont typeface="Arial" panose="020B0604020202020204" pitchFamily="34" charset="0"/>
              <a:buChar char="•"/>
            </a:pPr>
            <a:r>
              <a:rPr lang="en-US" sz="1200" b="1"/>
              <a:t>Support for Remote Areas</a:t>
            </a:r>
            <a:r>
              <a:rPr lang="en-US" sz="1200"/>
              <a:t>: Hydroelectric systems can provide reliable electricity to isolated communities in mountainous regions.</a:t>
            </a:r>
          </a:p>
          <a:p>
            <a:pPr marL="311150" indent="-171450">
              <a:buClr>
                <a:schemeClr val="accent5"/>
              </a:buClr>
              <a:buFont typeface="Arial" panose="020B0604020202020204" pitchFamily="34" charset="0"/>
              <a:buChar char="•"/>
            </a:pPr>
            <a:r>
              <a:rPr lang="en-US" sz="1200" b="1"/>
              <a:t>Economic Development</a:t>
            </a:r>
            <a:r>
              <a:rPr lang="en-US" sz="1200"/>
              <a:t>: Harnessing water energy supports local economies through job creation and infrastructure improvements.</a:t>
            </a:r>
          </a:p>
          <a:p>
            <a:pPr marL="311150" indent="-171450">
              <a:buClr>
                <a:schemeClr val="accent5"/>
              </a:buClr>
              <a:buFont typeface="Arial" panose="020B0604020202020204" pitchFamily="34" charset="0"/>
              <a:buChar char="•"/>
            </a:pPr>
            <a:r>
              <a:rPr lang="en-US" sz="1200" b="1"/>
              <a:t>Low Environmental Impact</a:t>
            </a:r>
            <a:r>
              <a:rPr lang="en-US" sz="1200"/>
              <a:t>: When responsibly managed, hydro energy systems in these regions have minimal ecological disruption compared to other energy sources.</a:t>
            </a:r>
          </a:p>
        </p:txBody>
      </p:sp>
    </p:spTree>
    <p:extLst>
      <p:ext uri="{BB962C8B-B14F-4D97-AF65-F5344CB8AC3E}">
        <p14:creationId xmlns:p14="http://schemas.microsoft.com/office/powerpoint/2010/main" val="27673522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4CCDE-01BB-0B1A-C173-AFD2200147E0}"/>
            </a:ext>
          </a:extLst>
        </p:cNvPr>
        <p:cNvGrpSpPr/>
        <p:nvPr/>
      </p:nvGrpSpPr>
      <p:grpSpPr>
        <a:xfrm>
          <a:off x="0" y="0"/>
          <a:ext cx="0" cy="0"/>
          <a:chOff x="0" y="0"/>
          <a:chExt cx="0" cy="0"/>
        </a:xfrm>
      </p:grpSpPr>
      <p:sp>
        <p:nvSpPr>
          <p:cNvPr id="16" name="Titel 1">
            <a:extLst>
              <a:ext uri="{FF2B5EF4-FFF2-40B4-BE49-F238E27FC236}">
                <a16:creationId xmlns:a16="http://schemas.microsoft.com/office/drawing/2014/main" id="{06ADA569-B536-E287-F289-5A1E056AC650}"/>
              </a:ext>
            </a:extLst>
          </p:cNvPr>
          <p:cNvSpPr txBox="1">
            <a:spLocks/>
          </p:cNvSpPr>
          <p:nvPr/>
        </p:nvSpPr>
        <p:spPr>
          <a:xfrm>
            <a:off x="719138" y="1304197"/>
            <a:ext cx="6380336" cy="78562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a:t>4. </a:t>
            </a:r>
            <a:r>
              <a:rPr lang="de-DE" err="1"/>
              <a:t>Catchment</a:t>
            </a:r>
            <a:r>
              <a:rPr lang="de-DE"/>
              <a:t> Area and River </a:t>
            </a:r>
            <a:r>
              <a:rPr lang="de-DE" err="1"/>
              <a:t>Basins</a:t>
            </a:r>
            <a:endParaRPr lang="de-DE"/>
          </a:p>
        </p:txBody>
      </p:sp>
      <p:sp>
        <p:nvSpPr>
          <p:cNvPr id="3" name="Foliennummernplatzhalter 2">
            <a:extLst>
              <a:ext uri="{FF2B5EF4-FFF2-40B4-BE49-F238E27FC236}">
                <a16:creationId xmlns:a16="http://schemas.microsoft.com/office/drawing/2014/main" id="{25F33B52-044E-AFD4-F046-EA9B4372701D}"/>
              </a:ext>
            </a:extLst>
          </p:cNvPr>
          <p:cNvSpPr>
            <a:spLocks noGrp="1"/>
          </p:cNvSpPr>
          <p:nvPr>
            <p:ph type="sldNum" sz="quarter" idx="10"/>
          </p:nvPr>
        </p:nvSpPr>
        <p:spPr/>
        <p:txBody>
          <a:bodyPr/>
          <a:lstStyle/>
          <a:p>
            <a:fld id="{DF7F771E-9578-4C04-B869-01AF4C35C90C}" type="slidenum">
              <a:rPr lang="de-DE" smtClean="0"/>
              <a:t>27</a:t>
            </a:fld>
            <a:endParaRPr lang="de-DE"/>
          </a:p>
        </p:txBody>
      </p:sp>
      <p:sp>
        <p:nvSpPr>
          <p:cNvPr id="12" name="Textfeld 11">
            <a:extLst>
              <a:ext uri="{FF2B5EF4-FFF2-40B4-BE49-F238E27FC236}">
                <a16:creationId xmlns:a16="http://schemas.microsoft.com/office/drawing/2014/main" id="{53D999EC-4187-91FC-2D85-95284F49B101}"/>
              </a:ext>
            </a:extLst>
          </p:cNvPr>
          <p:cNvSpPr txBox="1"/>
          <p:nvPr/>
        </p:nvSpPr>
        <p:spPr>
          <a:xfrm>
            <a:off x="925864" y="4469199"/>
            <a:ext cx="5850051" cy="229736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39700" indent="0"/>
            <a:r>
              <a:rPr lang="en-US" sz="1200" b="1" dirty="0">
                <a:solidFill>
                  <a:srgbClr val="FF0000"/>
                </a:solidFill>
                <a:latin typeface="Sofia Sans" panose="020B0604020202020204" charset="0"/>
              </a:rPr>
              <a:t>W</a:t>
            </a:r>
            <a:r>
              <a:rPr lang="en-US" sz="1200" dirty="0">
                <a:solidFill>
                  <a:srgbClr val="FF0000"/>
                </a:solidFill>
                <a:latin typeface="Sofia Sans" panose="020B0604020202020204" charset="0"/>
              </a:rPr>
              <a:t>hen rain falls on a hill or mountain, gravity pulls the water downhill. The water doesn’t spread out randomly; instead, it flows into low-lying areas like streams, rivers, or lakes.</a:t>
            </a:r>
          </a:p>
          <a:p>
            <a:pPr marL="139700" indent="0"/>
            <a:endParaRPr lang="en-US" sz="1200" dirty="0">
              <a:solidFill>
                <a:srgbClr val="FF0000"/>
              </a:solidFill>
              <a:latin typeface="Sofia Sans" panose="020B0604020202020204" charset="0"/>
            </a:endParaRPr>
          </a:p>
          <a:p>
            <a:pPr marL="139700" indent="0"/>
            <a:r>
              <a:rPr lang="en-US" sz="1200" b="1" dirty="0">
                <a:solidFill>
                  <a:srgbClr val="FF0000"/>
                </a:solidFill>
                <a:latin typeface="Sofia Sans" panose="020B0604020202020204" charset="0"/>
              </a:rPr>
              <a:t>S</a:t>
            </a:r>
            <a:r>
              <a:rPr lang="en-US" sz="1200" dirty="0">
                <a:solidFill>
                  <a:srgbClr val="FF0000"/>
                </a:solidFill>
                <a:latin typeface="Sofia Sans" panose="020B0604020202020204" charset="0"/>
              </a:rPr>
              <a:t>ome water may soak into the ground, becoming groundwater, while the rest forms surface runoff. This surface runoff flows through small channels that join to form larger streams and rivers.</a:t>
            </a:r>
          </a:p>
        </p:txBody>
      </p:sp>
      <p:sp>
        <p:nvSpPr>
          <p:cNvPr id="14" name="Textfeld 13">
            <a:extLst>
              <a:ext uri="{FF2B5EF4-FFF2-40B4-BE49-F238E27FC236}">
                <a16:creationId xmlns:a16="http://schemas.microsoft.com/office/drawing/2014/main" id="{CEA0D134-1413-250F-5F17-A9163137E2E2}"/>
              </a:ext>
            </a:extLst>
          </p:cNvPr>
          <p:cNvSpPr txBox="1"/>
          <p:nvPr/>
        </p:nvSpPr>
        <p:spPr>
          <a:xfrm>
            <a:off x="925864" y="7438917"/>
            <a:ext cx="5850051" cy="243343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39700" indent="0"/>
            <a:r>
              <a:rPr lang="en-US" sz="1200" b="1" dirty="0">
                <a:solidFill>
                  <a:srgbClr val="FF0000"/>
                </a:solidFill>
                <a:latin typeface="Sofia Sans" panose="020B0604020202020204" charset="0"/>
              </a:rPr>
              <a:t>R</a:t>
            </a:r>
            <a:r>
              <a:rPr lang="en-US" sz="1200" dirty="0">
                <a:solidFill>
                  <a:srgbClr val="FF0000"/>
                </a:solidFill>
                <a:latin typeface="Sofia Sans" panose="020B0604020202020204" charset="0"/>
              </a:rPr>
              <a:t>ainwater collects from the higher parts of the land (like hills or mountains) and flows downhill into natural paths formed by the shape of the land.</a:t>
            </a:r>
            <a:endParaRPr lang="en-US" sz="1200" b="1" dirty="0">
              <a:solidFill>
                <a:srgbClr val="FF0000"/>
              </a:solidFill>
              <a:latin typeface="Sofia Sans" panose="020B0604020202020204" charset="0"/>
            </a:endParaRPr>
          </a:p>
          <a:p>
            <a:pPr marL="482600" indent="-342900">
              <a:buFont typeface="+mj-lt"/>
              <a:buAutoNum type="arabicPeriod"/>
            </a:pPr>
            <a:endParaRPr lang="en-US" sz="1200" b="1" dirty="0">
              <a:solidFill>
                <a:srgbClr val="FF0000"/>
              </a:solidFill>
              <a:latin typeface="Sofia Sans" panose="020B0604020202020204" charset="0"/>
            </a:endParaRPr>
          </a:p>
          <a:p>
            <a:pPr marL="139700" indent="0"/>
            <a:r>
              <a:rPr lang="en-US" sz="1200" b="1" dirty="0">
                <a:solidFill>
                  <a:srgbClr val="FF0000"/>
                </a:solidFill>
                <a:latin typeface="Sofia Sans" panose="020B0604020202020204" charset="0"/>
              </a:rPr>
              <a:t>S</a:t>
            </a:r>
            <a:r>
              <a:rPr lang="en-US" sz="1200" dirty="0">
                <a:solidFill>
                  <a:srgbClr val="FF0000"/>
                </a:solidFill>
                <a:latin typeface="Sofia Sans" panose="020B0604020202020204" charset="0"/>
              </a:rPr>
              <a:t>mall streams from different parts of the land meet, combining their flow. These streams eventually join together to form larger rivers that continue to flow toward lower ground or the sea.</a:t>
            </a:r>
          </a:p>
          <a:p>
            <a:pPr marL="482600" indent="-342900">
              <a:buFont typeface="+mj-lt"/>
              <a:buAutoNum type="arabicPeriod"/>
            </a:pPr>
            <a:endParaRPr lang="en-US" sz="1200" b="1" dirty="0">
              <a:solidFill>
                <a:srgbClr val="FF0000"/>
              </a:solidFill>
              <a:latin typeface="Sofia Sans" panose="020B0604020202020204" charset="0"/>
            </a:endParaRPr>
          </a:p>
          <a:p>
            <a:pPr marL="139700" indent="0"/>
            <a:r>
              <a:rPr lang="en-US" sz="1200" b="1" dirty="0">
                <a:solidFill>
                  <a:srgbClr val="FF0000"/>
                </a:solidFill>
                <a:latin typeface="Sofia Sans" panose="020B0604020202020204" charset="0"/>
              </a:rPr>
              <a:t>Th</a:t>
            </a:r>
            <a:r>
              <a:rPr lang="en-US" sz="1200" dirty="0">
                <a:solidFill>
                  <a:srgbClr val="FF0000"/>
                </a:solidFill>
                <a:latin typeface="Sofia Sans" panose="020B0604020202020204" charset="0"/>
              </a:rPr>
              <a:t>e land that collects all the rain feeding into these rivers is called the </a:t>
            </a:r>
            <a:r>
              <a:rPr lang="en-US" sz="1200" i="1" dirty="0">
                <a:solidFill>
                  <a:srgbClr val="FF0000"/>
                </a:solidFill>
                <a:latin typeface="Sofia Sans" panose="020B0604020202020204" charset="0"/>
              </a:rPr>
              <a:t>catchment area</a:t>
            </a:r>
            <a:r>
              <a:rPr lang="en-US" sz="1200" dirty="0">
                <a:solidFill>
                  <a:srgbClr val="FF0000"/>
                </a:solidFill>
                <a:latin typeface="Sofia Sans" panose="020B0604020202020204" charset="0"/>
              </a:rPr>
              <a:t>. All the rivers flowing into one main river system make up the </a:t>
            </a:r>
            <a:r>
              <a:rPr lang="en-US" sz="1200" i="1" dirty="0">
                <a:solidFill>
                  <a:srgbClr val="FF0000"/>
                </a:solidFill>
                <a:latin typeface="Sofia Sans" panose="020B0604020202020204" charset="0"/>
              </a:rPr>
              <a:t>river basin</a:t>
            </a:r>
            <a:r>
              <a:rPr lang="en-US" sz="1200" dirty="0">
                <a:solidFill>
                  <a:srgbClr val="FF0000"/>
                </a:solidFill>
                <a:latin typeface="Sofia Sans" panose="020B0604020202020204" charset="0"/>
              </a:rPr>
              <a:t>.</a:t>
            </a:r>
            <a:endParaRPr lang="en-US" sz="1200" b="1" dirty="0">
              <a:solidFill>
                <a:srgbClr val="FF0000"/>
              </a:solidFill>
              <a:latin typeface="Sofia Sans" panose="020B0604020202020204" charset="0"/>
            </a:endParaRPr>
          </a:p>
        </p:txBody>
      </p:sp>
      <p:pic>
        <p:nvPicPr>
          <p:cNvPr id="15" name="Grafik 14" descr="Ein Bild, das Schwarz, Dunkelheit enthält.&#10;&#10;Automatisch generierte Beschreibung">
            <a:extLst>
              <a:ext uri="{FF2B5EF4-FFF2-40B4-BE49-F238E27FC236}">
                <a16:creationId xmlns:a16="http://schemas.microsoft.com/office/drawing/2014/main" id="{FFDADD42-4560-021D-726E-65F0CADA5333}"/>
              </a:ext>
            </a:extLst>
          </p:cNvPr>
          <p:cNvPicPr>
            <a:picLocks noChangeAspect="1"/>
          </p:cNvPicPr>
          <p:nvPr/>
        </p:nvPicPr>
        <p:blipFill>
          <a:blip r:embed="rId2"/>
          <a:stretch>
            <a:fillRect/>
          </a:stretch>
        </p:blipFill>
        <p:spPr>
          <a:xfrm>
            <a:off x="6321951" y="1345756"/>
            <a:ext cx="615226" cy="615226"/>
          </a:xfrm>
          <a:prstGeom prst="rect">
            <a:avLst/>
          </a:prstGeom>
        </p:spPr>
      </p:pic>
      <p:sp>
        <p:nvSpPr>
          <p:cNvPr id="17" name="Untertitel 3">
            <a:extLst>
              <a:ext uri="{FF2B5EF4-FFF2-40B4-BE49-F238E27FC236}">
                <a16:creationId xmlns:a16="http://schemas.microsoft.com/office/drawing/2014/main" id="{6AE3D581-BB11-9969-4790-3A580967AF26}"/>
              </a:ext>
            </a:extLst>
          </p:cNvPr>
          <p:cNvSpPr txBox="1">
            <a:spLocks/>
          </p:cNvSpPr>
          <p:nvPr/>
        </p:nvSpPr>
        <p:spPr>
          <a:xfrm>
            <a:off x="719138" y="1960982"/>
            <a:ext cx="6237872" cy="8724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t>The target of this exercise is to learn what a catchment area and river basin are and how </a:t>
            </a:r>
          </a:p>
          <a:p>
            <a:r>
              <a:rPr lang="en-US" sz="1200"/>
              <a:t>they are connected to dams and reservoirs. Additionally, you will explore how these </a:t>
            </a:r>
          </a:p>
          <a:p>
            <a:r>
              <a:rPr lang="en-US" sz="1200"/>
              <a:t>systems impact their surrounding environment.</a:t>
            </a:r>
            <a:endParaRPr lang="en-US" sz="1200">
              <a:highlight>
                <a:srgbClr val="FFFF00"/>
              </a:highlight>
            </a:endParaRPr>
          </a:p>
        </p:txBody>
      </p:sp>
      <p:pic>
        <p:nvPicPr>
          <p:cNvPr id="18" name="Grafik 17" descr="Lupe mit einfarbiger Füllung">
            <a:extLst>
              <a:ext uri="{FF2B5EF4-FFF2-40B4-BE49-F238E27FC236}">
                <a16:creationId xmlns:a16="http://schemas.microsoft.com/office/drawing/2014/main" id="{F7BAA786-7971-AB67-FB76-24C1BA4EC0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8932" y="3240851"/>
            <a:ext cx="333865" cy="333865"/>
          </a:xfrm>
          <a:prstGeom prst="rect">
            <a:avLst/>
          </a:prstGeom>
        </p:spPr>
      </p:pic>
      <p:sp>
        <p:nvSpPr>
          <p:cNvPr id="19" name="Untertitel 5">
            <a:extLst>
              <a:ext uri="{FF2B5EF4-FFF2-40B4-BE49-F238E27FC236}">
                <a16:creationId xmlns:a16="http://schemas.microsoft.com/office/drawing/2014/main" id="{E815A605-8106-0647-40F1-5A37D49C9801}"/>
              </a:ext>
            </a:extLst>
          </p:cNvPr>
          <p:cNvSpPr txBox="1">
            <a:spLocks/>
          </p:cNvSpPr>
          <p:nvPr/>
        </p:nvSpPr>
        <p:spPr>
          <a:xfrm>
            <a:off x="1142660" y="2958276"/>
            <a:ext cx="11177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20" name="Ellipse 19">
            <a:extLst>
              <a:ext uri="{FF2B5EF4-FFF2-40B4-BE49-F238E27FC236}">
                <a16:creationId xmlns:a16="http://schemas.microsoft.com/office/drawing/2014/main" id="{214B3329-93B9-2332-0F49-E82CD920AC39}"/>
              </a:ext>
            </a:extLst>
          </p:cNvPr>
          <p:cNvSpPr>
            <a:spLocks noChangeAspect="1"/>
          </p:cNvSpPr>
          <p:nvPr/>
        </p:nvSpPr>
        <p:spPr>
          <a:xfrm>
            <a:off x="719138" y="2950648"/>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descr="Skizze mit einfarbiger Füllung">
            <a:extLst>
              <a:ext uri="{FF2B5EF4-FFF2-40B4-BE49-F238E27FC236}">
                <a16:creationId xmlns:a16="http://schemas.microsoft.com/office/drawing/2014/main" id="{38C1CD3A-E0A0-0268-9F3A-6F0808C7E4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3615" y="3014380"/>
            <a:ext cx="379044" cy="379044"/>
          </a:xfrm>
          <a:prstGeom prst="rect">
            <a:avLst/>
          </a:prstGeom>
        </p:spPr>
      </p:pic>
      <p:sp>
        <p:nvSpPr>
          <p:cNvPr id="22" name="Untertitel 3">
            <a:extLst>
              <a:ext uri="{FF2B5EF4-FFF2-40B4-BE49-F238E27FC236}">
                <a16:creationId xmlns:a16="http://schemas.microsoft.com/office/drawing/2014/main" id="{249EAFC9-796D-BB9B-36CD-0E3CCA280E15}"/>
              </a:ext>
            </a:extLst>
          </p:cNvPr>
          <p:cNvSpPr txBox="1">
            <a:spLocks/>
          </p:cNvSpPr>
          <p:nvPr/>
        </p:nvSpPr>
        <p:spPr>
          <a:xfrm>
            <a:off x="719138" y="3915458"/>
            <a:ext cx="6122097" cy="4186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solidFill>
                  <a:schemeClr val="tx1"/>
                </a:solidFill>
              </a:rPr>
              <a:t>1. What happens when rain falls on a hill or mountain? Where does the water go?</a:t>
            </a:r>
          </a:p>
        </p:txBody>
      </p:sp>
      <p:sp>
        <p:nvSpPr>
          <p:cNvPr id="23" name="Untertitel 5">
            <a:extLst>
              <a:ext uri="{FF2B5EF4-FFF2-40B4-BE49-F238E27FC236}">
                <a16:creationId xmlns:a16="http://schemas.microsoft.com/office/drawing/2014/main" id="{375C6277-3E34-6266-9064-2156BB652B30}"/>
              </a:ext>
            </a:extLst>
          </p:cNvPr>
          <p:cNvSpPr txBox="1">
            <a:spLocks/>
          </p:cNvSpPr>
          <p:nvPr/>
        </p:nvSpPr>
        <p:spPr>
          <a:xfrm>
            <a:off x="738608" y="3542177"/>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sp>
        <p:nvSpPr>
          <p:cNvPr id="24" name="Untertitel 3">
            <a:extLst>
              <a:ext uri="{FF2B5EF4-FFF2-40B4-BE49-F238E27FC236}">
                <a16:creationId xmlns:a16="http://schemas.microsoft.com/office/drawing/2014/main" id="{EA471A6C-2483-B49E-67C6-5254DC20EB6B}"/>
              </a:ext>
            </a:extLst>
          </p:cNvPr>
          <p:cNvSpPr txBox="1">
            <a:spLocks/>
          </p:cNvSpPr>
          <p:nvPr/>
        </p:nvSpPr>
        <p:spPr>
          <a:xfrm>
            <a:off x="738608" y="6893907"/>
            <a:ext cx="6122097" cy="4186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solidFill>
                  <a:schemeClr val="tx1"/>
                </a:solidFill>
              </a:rPr>
              <a:t>2. How do you think water gathers into streams and rivers?</a:t>
            </a:r>
          </a:p>
        </p:txBody>
      </p:sp>
    </p:spTree>
    <p:extLst>
      <p:ext uri="{BB962C8B-B14F-4D97-AF65-F5344CB8AC3E}">
        <p14:creationId xmlns:p14="http://schemas.microsoft.com/office/powerpoint/2010/main" val="1430487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A3776-EE3B-8262-7FE9-BED83F4D75E5}"/>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2C81DC0F-B9F7-41E7-3580-3D84BEC50508}"/>
              </a:ext>
            </a:extLst>
          </p:cNvPr>
          <p:cNvSpPr>
            <a:spLocks noGrp="1"/>
          </p:cNvSpPr>
          <p:nvPr>
            <p:ph type="sldNum" sz="quarter" idx="4"/>
          </p:nvPr>
        </p:nvSpPr>
        <p:spPr/>
        <p:txBody>
          <a:bodyPr/>
          <a:lstStyle/>
          <a:p>
            <a:fld id="{DF7F771E-9578-4C04-B869-01AF4C35C90C}" type="slidenum">
              <a:rPr lang="de-DE" smtClean="0"/>
              <a:t>28</a:t>
            </a:fld>
            <a:endParaRPr lang="de-DE"/>
          </a:p>
        </p:txBody>
      </p:sp>
      <p:pic>
        <p:nvPicPr>
          <p:cNvPr id="23" name="Grafik 22" descr="Skizze mit einfarbiger Füllung">
            <a:extLst>
              <a:ext uri="{FF2B5EF4-FFF2-40B4-BE49-F238E27FC236}">
                <a16:creationId xmlns:a16="http://schemas.microsoft.com/office/drawing/2014/main" id="{B95FF1E4-EEB2-B0F7-3818-E4D25F7E3A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6264" y="2326774"/>
            <a:ext cx="379044" cy="379044"/>
          </a:xfrm>
          <a:prstGeom prst="rect">
            <a:avLst/>
          </a:prstGeom>
        </p:spPr>
      </p:pic>
      <p:pic>
        <p:nvPicPr>
          <p:cNvPr id="5" name="Grafik 19" descr="Lesezeichen mit einfarbiger Füllung">
            <a:extLst>
              <a:ext uri="{FF2B5EF4-FFF2-40B4-BE49-F238E27FC236}">
                <a16:creationId xmlns:a16="http://schemas.microsoft.com/office/drawing/2014/main" id="{204D1A0B-79F8-0535-D8A0-44EE66DE2C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9040" y="1874962"/>
            <a:ext cx="404450" cy="404450"/>
          </a:xfrm>
          <a:prstGeom prst="rect">
            <a:avLst/>
          </a:prstGeom>
        </p:spPr>
      </p:pic>
      <p:pic>
        <p:nvPicPr>
          <p:cNvPr id="31" name="Grafik 30" descr="Lupe mit einfarbiger Füllung">
            <a:extLst>
              <a:ext uri="{FF2B5EF4-FFF2-40B4-BE49-F238E27FC236}">
                <a16:creationId xmlns:a16="http://schemas.microsoft.com/office/drawing/2014/main" id="{8C55A927-066B-A737-A25A-177E9A5510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0491" y="3275414"/>
            <a:ext cx="333865" cy="333865"/>
          </a:xfrm>
          <a:prstGeom prst="rect">
            <a:avLst/>
          </a:prstGeom>
        </p:spPr>
      </p:pic>
      <p:sp>
        <p:nvSpPr>
          <p:cNvPr id="18" name="Untertitel 3">
            <a:extLst>
              <a:ext uri="{FF2B5EF4-FFF2-40B4-BE49-F238E27FC236}">
                <a16:creationId xmlns:a16="http://schemas.microsoft.com/office/drawing/2014/main" id="{86776F84-6909-6594-6114-BE15C52A6E66}"/>
              </a:ext>
            </a:extLst>
          </p:cNvPr>
          <p:cNvSpPr txBox="1">
            <a:spLocks/>
          </p:cNvSpPr>
          <p:nvPr/>
        </p:nvSpPr>
        <p:spPr>
          <a:xfrm>
            <a:off x="719138" y="1277938"/>
            <a:ext cx="5713537" cy="3951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3. Draw what you imagine a “catchment area” or “river basin” might look like.</a:t>
            </a:r>
          </a:p>
          <a:p>
            <a:endParaRPr lang="en-US" sz="1200" b="1"/>
          </a:p>
        </p:txBody>
      </p:sp>
      <p:pic>
        <p:nvPicPr>
          <p:cNvPr id="12" name="Grafik 11" descr="Skizze mit einfarbiger Füllung">
            <a:extLst>
              <a:ext uri="{FF2B5EF4-FFF2-40B4-BE49-F238E27FC236}">
                <a16:creationId xmlns:a16="http://schemas.microsoft.com/office/drawing/2014/main" id="{5C5A3643-1095-7E65-7D25-1D8BB06C0E9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3255" y="6380002"/>
            <a:ext cx="379044" cy="379044"/>
          </a:xfrm>
          <a:prstGeom prst="rect">
            <a:avLst/>
          </a:prstGeom>
        </p:spPr>
      </p:pic>
      <p:pic>
        <p:nvPicPr>
          <p:cNvPr id="16" name="Grafik 19" descr="Lesezeichen mit einfarbiger Füllung">
            <a:extLst>
              <a:ext uri="{FF2B5EF4-FFF2-40B4-BE49-F238E27FC236}">
                <a16:creationId xmlns:a16="http://schemas.microsoft.com/office/drawing/2014/main" id="{DEE5B5F2-66AE-5476-A5F6-7DF84F3717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6031" y="5928190"/>
            <a:ext cx="404450" cy="404450"/>
          </a:xfrm>
          <a:prstGeom prst="rect">
            <a:avLst/>
          </a:prstGeom>
        </p:spPr>
      </p:pic>
      <p:sp>
        <p:nvSpPr>
          <p:cNvPr id="19" name="Untertitel 2">
            <a:extLst>
              <a:ext uri="{FF2B5EF4-FFF2-40B4-BE49-F238E27FC236}">
                <a16:creationId xmlns:a16="http://schemas.microsoft.com/office/drawing/2014/main" id="{EDBEBE56-8691-62D1-2285-4C2671E6B16A}"/>
              </a:ext>
            </a:extLst>
          </p:cNvPr>
          <p:cNvSpPr txBox="1">
            <a:spLocks/>
          </p:cNvSpPr>
          <p:nvPr/>
        </p:nvSpPr>
        <p:spPr>
          <a:xfrm>
            <a:off x="1134051" y="6607959"/>
            <a:ext cx="5281980" cy="282504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a:buFont typeface="Arial" panose="020B0604020202020204" pitchFamily="34" charset="0"/>
              <a:buChar char="•"/>
            </a:pPr>
            <a:endParaRPr lang="en-US"/>
          </a:p>
          <a:p>
            <a:pPr>
              <a:buFont typeface="Arial" panose="020B0604020202020204" pitchFamily="34" charset="0"/>
              <a:buChar char="•"/>
            </a:pPr>
            <a:endParaRPr lang="en-US"/>
          </a:p>
        </p:txBody>
      </p:sp>
      <p:sp>
        <p:nvSpPr>
          <p:cNvPr id="3" name="Untertitel 5">
            <a:extLst>
              <a:ext uri="{FF2B5EF4-FFF2-40B4-BE49-F238E27FC236}">
                <a16:creationId xmlns:a16="http://schemas.microsoft.com/office/drawing/2014/main" id="{BC067030-5BC0-89AF-54C2-2095697240A5}"/>
              </a:ext>
            </a:extLst>
          </p:cNvPr>
          <p:cNvSpPr txBox="1">
            <a:spLocks/>
          </p:cNvSpPr>
          <p:nvPr/>
        </p:nvSpPr>
        <p:spPr>
          <a:xfrm>
            <a:off x="690491" y="4691070"/>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6" name="Untertitel 3">
            <a:extLst>
              <a:ext uri="{FF2B5EF4-FFF2-40B4-BE49-F238E27FC236}">
                <a16:creationId xmlns:a16="http://schemas.microsoft.com/office/drawing/2014/main" id="{D52A071A-F073-2B1D-4119-5C814C9D8E38}"/>
              </a:ext>
            </a:extLst>
          </p:cNvPr>
          <p:cNvSpPr txBox="1">
            <a:spLocks/>
          </p:cNvSpPr>
          <p:nvPr/>
        </p:nvSpPr>
        <p:spPr>
          <a:xfrm>
            <a:off x="918272" y="5038732"/>
            <a:ext cx="5713537" cy="1514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Understanding Dams and Reservoirs</a:t>
            </a:r>
          </a:p>
          <a:p>
            <a:pPr marL="139700" indent="0"/>
            <a:endParaRPr lang="en-US" sz="1200" b="1"/>
          </a:p>
          <a:p>
            <a:pPr marL="368300" indent="-228600">
              <a:buClr>
                <a:schemeClr val="accent5"/>
              </a:buClr>
              <a:buSzPct val="121000"/>
              <a:buFont typeface="+mj-lt"/>
              <a:buAutoNum type="arabicPeriod"/>
            </a:pPr>
            <a:r>
              <a:rPr lang="en-US" sz="1200"/>
              <a:t>Where would you place a dam to collect and store water?</a:t>
            </a:r>
          </a:p>
          <a:p>
            <a:pPr marL="368300" indent="-228600">
              <a:buClr>
                <a:schemeClr val="accent5"/>
              </a:buClr>
              <a:buSzPct val="121000"/>
              <a:buFont typeface="+mj-lt"/>
              <a:buAutoNum type="arabicPeriod"/>
            </a:pPr>
            <a:r>
              <a:rPr lang="en-US" sz="1200"/>
              <a:t>How would the dam affect the flow of the river and the landscape around it (Up-/Downstream of the dam)?</a:t>
            </a:r>
          </a:p>
          <a:p>
            <a:pPr marL="368300" indent="-228600">
              <a:buClr>
                <a:schemeClr val="accent5"/>
              </a:buClr>
              <a:buSzPct val="121000"/>
              <a:buFont typeface="+mj-lt"/>
              <a:buAutoNum type="arabicPeriod"/>
            </a:pPr>
            <a:r>
              <a:rPr lang="en-US" sz="1200"/>
              <a:t>Sketch a dam and reservoir using your knowledge of catchment areas and river basins.</a:t>
            </a:r>
          </a:p>
          <a:p>
            <a:pPr marL="139700" indent="0"/>
            <a:endParaRPr lang="en-US" sz="1200" b="1"/>
          </a:p>
        </p:txBody>
      </p:sp>
      <p:sp>
        <p:nvSpPr>
          <p:cNvPr id="7" name="Textfeld 11">
            <a:extLst>
              <a:ext uri="{FF2B5EF4-FFF2-40B4-BE49-F238E27FC236}">
                <a16:creationId xmlns:a16="http://schemas.microsoft.com/office/drawing/2014/main" id="{6570A07D-186C-229B-3199-AAB4A6562324}"/>
              </a:ext>
            </a:extLst>
          </p:cNvPr>
          <p:cNvSpPr txBox="1"/>
          <p:nvPr/>
        </p:nvSpPr>
        <p:spPr>
          <a:xfrm>
            <a:off x="869140" y="6726301"/>
            <a:ext cx="5850051" cy="317876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11150" indent="-171450">
              <a:buFont typeface="Arial" panose="020B0604020202020204" pitchFamily="34" charset="0"/>
              <a:buChar char="•"/>
            </a:pPr>
            <a:r>
              <a:rPr lang="en-US" sz="1200" dirty="0">
                <a:solidFill>
                  <a:srgbClr val="FF0000"/>
                </a:solidFill>
                <a:latin typeface="Sofia Sans" panose="020B0604020202020204" charset="0"/>
              </a:rPr>
              <a:t>A</a:t>
            </a:r>
            <a:r>
              <a:rPr lang="en-US" sz="1200" b="1" dirty="0">
                <a:solidFill>
                  <a:srgbClr val="FF0000"/>
                </a:solidFill>
                <a:latin typeface="Sofia Sans" panose="020B0604020202020204" charset="0"/>
              </a:rPr>
              <a:t> </a:t>
            </a:r>
            <a:r>
              <a:rPr lang="en-US" sz="1200" dirty="0">
                <a:solidFill>
                  <a:srgbClr val="FF0000"/>
                </a:solidFill>
                <a:latin typeface="Sofia Sans" panose="020B0604020202020204" charset="0"/>
              </a:rPr>
              <a:t>dam is typically built at a narrow point in the river where it can block the flow effectively, creating a reservoir upstream.</a:t>
            </a:r>
            <a:endParaRPr lang="en-US" sz="1200" b="1" dirty="0">
              <a:solidFill>
                <a:srgbClr val="FF0000"/>
              </a:solidFill>
              <a:latin typeface="Sofia Sans" panose="020B0604020202020204" charset="0"/>
            </a:endParaRPr>
          </a:p>
          <a:p>
            <a:pPr marL="139700" indent="0"/>
            <a:endParaRPr lang="en-US" sz="1200" dirty="0">
              <a:solidFill>
                <a:srgbClr val="FF0000"/>
              </a:solidFill>
              <a:latin typeface="Sofia Sans" panose="020B0604020202020204" charset="0"/>
            </a:endParaRPr>
          </a:p>
          <a:p>
            <a:pPr marL="311150" indent="-171450">
              <a:buFont typeface="Arial" panose="020B0604020202020204" pitchFamily="34" charset="0"/>
              <a:buChar char="•"/>
            </a:pPr>
            <a:r>
              <a:rPr lang="en-US" sz="1200" u="sng" dirty="0">
                <a:solidFill>
                  <a:srgbClr val="FF0000"/>
                </a:solidFill>
                <a:latin typeface="Sofia Sans" panose="020B0604020202020204" charset="0"/>
              </a:rPr>
              <a:t>Upstream</a:t>
            </a:r>
            <a:r>
              <a:rPr lang="en-US" sz="1200" dirty="0">
                <a:solidFill>
                  <a:srgbClr val="FF0000"/>
                </a:solidFill>
                <a:latin typeface="Sofia Sans" panose="020B0604020202020204" charset="0"/>
              </a:rPr>
              <a:t> (Reservoir): The natural river valley is transformed into a reservoir, submerging land and ecosystems. The water stored provides a steady supply for irrigation, drinking water, and hydropower. However, this may lead to the displacement of local communities and loss of habitats.</a:t>
            </a:r>
          </a:p>
          <a:p>
            <a:pPr marL="311150" indent="-171450">
              <a:buFont typeface="Arial" panose="020B0604020202020204" pitchFamily="34" charset="0"/>
              <a:buChar char="•"/>
            </a:pPr>
            <a:endParaRPr lang="en-US" sz="1200" dirty="0">
              <a:solidFill>
                <a:srgbClr val="FF0000"/>
              </a:solidFill>
              <a:latin typeface="Sofia Sans" panose="020B0604020202020204" charset="0"/>
            </a:endParaRPr>
          </a:p>
          <a:p>
            <a:pPr marL="311150" indent="-171450">
              <a:buFont typeface="Arial" panose="020B0604020202020204" pitchFamily="34" charset="0"/>
              <a:buChar char="•"/>
            </a:pPr>
            <a:r>
              <a:rPr lang="en-US" sz="1200" u="sng" dirty="0">
                <a:solidFill>
                  <a:srgbClr val="FF0000"/>
                </a:solidFill>
                <a:latin typeface="Sofia Sans" panose="020B0604020202020204" charset="0"/>
              </a:rPr>
              <a:t>Downstream</a:t>
            </a:r>
            <a:r>
              <a:rPr lang="en-US" sz="1200" dirty="0">
                <a:solidFill>
                  <a:srgbClr val="FF0000"/>
                </a:solidFill>
                <a:latin typeface="Sofia Sans" panose="020B0604020202020204" charset="0"/>
              </a:rPr>
              <a:t>: The river flow becomes regulated. Flood risks may decrease, but sediment transport is reduced, affecting downstream soil fertility. Aquatic habitats may change or degrade due to altered flow patterns and water temperatures.</a:t>
            </a:r>
          </a:p>
          <a:p>
            <a:pPr marL="311150" indent="-171450">
              <a:buFont typeface="Arial" panose="020B0604020202020204" pitchFamily="34" charset="0"/>
              <a:buChar char="•"/>
            </a:pPr>
            <a:endParaRPr lang="en-US" sz="1200" dirty="0">
              <a:solidFill>
                <a:srgbClr val="FF0000"/>
              </a:solidFill>
              <a:latin typeface="Sofia Sans" panose="020B0604020202020204" charset="0"/>
            </a:endParaRPr>
          </a:p>
          <a:p>
            <a:pPr marL="311150" indent="-171450">
              <a:buFont typeface="Arial" panose="020B0604020202020204" pitchFamily="34" charset="0"/>
              <a:buChar char="•"/>
            </a:pPr>
            <a:r>
              <a:rPr lang="en-US" sz="1200" dirty="0">
                <a:solidFill>
                  <a:srgbClr val="FF0000"/>
                </a:solidFill>
                <a:latin typeface="Sofia Sans" panose="020B0604020202020204" charset="0"/>
              </a:rPr>
              <a:t>Landscape Changes: The dam structure and reservoir significantly alter the natural landscape, creating new opportunities for recreation but also introducing risks like reduced sediment downstream and potential seismic activity due to the weight of the water.</a:t>
            </a:r>
          </a:p>
          <a:p>
            <a:pPr marL="311150" indent="-171450">
              <a:buFont typeface="Arial" panose="020B0604020202020204" pitchFamily="34" charset="0"/>
              <a:buChar char="•"/>
            </a:pPr>
            <a:endParaRPr lang="en-US" sz="1200" b="1" dirty="0">
              <a:latin typeface="Sofia Sans" panose="020B0604020202020204" charset="0"/>
            </a:endParaRPr>
          </a:p>
          <a:p>
            <a:endParaRPr lang="en-US" sz="1200" dirty="0">
              <a:solidFill>
                <a:schemeClr val="tx1"/>
              </a:solidFill>
              <a:effectLst/>
              <a:latin typeface="Sofia Sans" panose="020B0604020202020204" charset="0"/>
              <a:ea typeface="Times New Roman" panose="02020603050405020304" pitchFamily="18" charset="0"/>
            </a:endParaRPr>
          </a:p>
        </p:txBody>
      </p:sp>
      <p:sp>
        <p:nvSpPr>
          <p:cNvPr id="2" name="Textfeld 11">
            <a:extLst>
              <a:ext uri="{FF2B5EF4-FFF2-40B4-BE49-F238E27FC236}">
                <a16:creationId xmlns:a16="http://schemas.microsoft.com/office/drawing/2014/main" id="{282F33DD-9575-2DB8-D2B7-0947F94679F1}"/>
              </a:ext>
            </a:extLst>
          </p:cNvPr>
          <p:cNvSpPr txBox="1"/>
          <p:nvPr/>
        </p:nvSpPr>
        <p:spPr>
          <a:xfrm>
            <a:off x="853264" y="1727460"/>
            <a:ext cx="5850051" cy="282118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pPr algn="ctr"/>
            <a:r>
              <a:rPr lang="en-US" sz="1200" dirty="0">
                <a:solidFill>
                  <a:srgbClr val="FF0000"/>
                </a:solidFill>
                <a:effectLst/>
                <a:latin typeface="Sofia Sans" panose="020B0604020202020204" charset="0"/>
                <a:ea typeface="Times New Roman" panose="02020603050405020304" pitchFamily="18" charset="0"/>
              </a:rPr>
              <a:t>See page </a:t>
            </a:r>
            <a:r>
              <a:rPr lang="en-US" sz="1200" b="1" u="sng" dirty="0">
                <a:solidFill>
                  <a:srgbClr val="FF0000"/>
                </a:solidFill>
                <a:effectLst/>
                <a:latin typeface="Sofia Sans" panose="020B0604020202020204" charset="0"/>
                <a:ea typeface="Times New Roman" panose="02020603050405020304" pitchFamily="18" charset="0"/>
              </a:rPr>
              <a:t>33</a:t>
            </a:r>
            <a:r>
              <a:rPr lang="en-US" sz="1200" dirty="0">
                <a:solidFill>
                  <a:srgbClr val="FF0000"/>
                </a:solidFill>
                <a:effectLst/>
                <a:latin typeface="Sofia Sans" panose="020B0604020202020204" charset="0"/>
                <a:ea typeface="Times New Roman" panose="02020603050405020304" pitchFamily="18" charset="0"/>
              </a:rPr>
              <a:t> teachers presentation </a:t>
            </a:r>
          </a:p>
        </p:txBody>
      </p:sp>
    </p:spTree>
    <p:extLst>
      <p:ext uri="{BB962C8B-B14F-4D97-AF65-F5344CB8AC3E}">
        <p14:creationId xmlns:p14="http://schemas.microsoft.com/office/powerpoint/2010/main" val="451900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579B7-6588-2D25-2153-14308F2EBCC1}"/>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D9F5B9AB-B4E6-D6FF-4806-54EF2FB7A702}"/>
              </a:ext>
            </a:extLst>
          </p:cNvPr>
          <p:cNvSpPr>
            <a:spLocks noGrp="1"/>
          </p:cNvSpPr>
          <p:nvPr>
            <p:ph type="sldNum" sz="quarter" idx="16"/>
          </p:nvPr>
        </p:nvSpPr>
        <p:spPr/>
        <p:txBody>
          <a:bodyPr/>
          <a:lstStyle/>
          <a:p>
            <a:fld id="{DF7F771E-9578-4C04-B869-01AF4C35C90C}" type="slidenum">
              <a:rPr lang="de-DE" smtClean="0"/>
              <a:t>29</a:t>
            </a:fld>
            <a:endParaRPr lang="de-DE"/>
          </a:p>
        </p:txBody>
      </p:sp>
      <p:pic>
        <p:nvPicPr>
          <p:cNvPr id="23" name="Grafik 22" descr="Skizze mit einfarbiger Füllung">
            <a:extLst>
              <a:ext uri="{FF2B5EF4-FFF2-40B4-BE49-F238E27FC236}">
                <a16:creationId xmlns:a16="http://schemas.microsoft.com/office/drawing/2014/main" id="{5A441065-B52C-A974-7644-61ECCC3BD4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4374" y="1780321"/>
            <a:ext cx="379044" cy="379044"/>
          </a:xfrm>
          <a:prstGeom prst="rect">
            <a:avLst/>
          </a:prstGeom>
        </p:spPr>
      </p:pic>
      <p:pic>
        <p:nvPicPr>
          <p:cNvPr id="5" name="Grafik 19" descr="Lesezeichen mit einfarbiger Füllung">
            <a:extLst>
              <a:ext uri="{FF2B5EF4-FFF2-40B4-BE49-F238E27FC236}">
                <a16:creationId xmlns:a16="http://schemas.microsoft.com/office/drawing/2014/main" id="{49D7909B-9DBD-DCC9-2012-CAF63748A4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67150" y="1328509"/>
            <a:ext cx="404450" cy="404450"/>
          </a:xfrm>
          <a:prstGeom prst="rect">
            <a:avLst/>
          </a:prstGeom>
        </p:spPr>
      </p:pic>
      <p:pic>
        <p:nvPicPr>
          <p:cNvPr id="31" name="Grafik 30" descr="Lupe mit einfarbiger Füllung">
            <a:extLst>
              <a:ext uri="{FF2B5EF4-FFF2-40B4-BE49-F238E27FC236}">
                <a16:creationId xmlns:a16="http://schemas.microsoft.com/office/drawing/2014/main" id="{0AE3E572-92A7-33EE-FACA-CE94A03E52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8601" y="2728961"/>
            <a:ext cx="333865" cy="333865"/>
          </a:xfrm>
          <a:prstGeom prst="rect">
            <a:avLst/>
          </a:prstGeom>
        </p:spPr>
      </p:pic>
      <p:pic>
        <p:nvPicPr>
          <p:cNvPr id="12" name="Grafik 11" descr="Skizze mit einfarbiger Füllung">
            <a:extLst>
              <a:ext uri="{FF2B5EF4-FFF2-40B4-BE49-F238E27FC236}">
                <a16:creationId xmlns:a16="http://schemas.microsoft.com/office/drawing/2014/main" id="{44D15B23-61EC-6D00-DFA4-63D40F5EFB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8854" y="5136364"/>
            <a:ext cx="379044" cy="379044"/>
          </a:xfrm>
          <a:prstGeom prst="rect">
            <a:avLst/>
          </a:prstGeom>
        </p:spPr>
      </p:pic>
      <p:pic>
        <p:nvPicPr>
          <p:cNvPr id="16" name="Grafik 19" descr="Lesezeichen mit einfarbiger Füllung">
            <a:extLst>
              <a:ext uri="{FF2B5EF4-FFF2-40B4-BE49-F238E27FC236}">
                <a16:creationId xmlns:a16="http://schemas.microsoft.com/office/drawing/2014/main" id="{E979FF67-D0DF-3612-9BB9-E035A16AD6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1630" y="4684552"/>
            <a:ext cx="404450" cy="404450"/>
          </a:xfrm>
          <a:prstGeom prst="rect">
            <a:avLst/>
          </a:prstGeom>
        </p:spPr>
      </p:pic>
      <p:sp>
        <p:nvSpPr>
          <p:cNvPr id="19" name="Untertitel 2">
            <a:extLst>
              <a:ext uri="{FF2B5EF4-FFF2-40B4-BE49-F238E27FC236}">
                <a16:creationId xmlns:a16="http://schemas.microsoft.com/office/drawing/2014/main" id="{0B8D1317-0430-4D8F-8188-B36FCEA88496}"/>
              </a:ext>
            </a:extLst>
          </p:cNvPr>
          <p:cNvSpPr txBox="1">
            <a:spLocks/>
          </p:cNvSpPr>
          <p:nvPr/>
        </p:nvSpPr>
        <p:spPr>
          <a:xfrm>
            <a:off x="1199650" y="5364321"/>
            <a:ext cx="5281980" cy="282504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a:buFont typeface="Arial" panose="020B0604020202020204" pitchFamily="34" charset="0"/>
              <a:buChar char="•"/>
            </a:pPr>
            <a:endParaRPr lang="en-US"/>
          </a:p>
          <a:p>
            <a:pPr>
              <a:buFont typeface="Arial" panose="020B0604020202020204" pitchFamily="34" charset="0"/>
              <a:buChar char="•"/>
            </a:pPr>
            <a:endParaRPr lang="en-US"/>
          </a:p>
        </p:txBody>
      </p:sp>
      <p:sp>
        <p:nvSpPr>
          <p:cNvPr id="2" name="Untertitel 3">
            <a:extLst>
              <a:ext uri="{FF2B5EF4-FFF2-40B4-BE49-F238E27FC236}">
                <a16:creationId xmlns:a16="http://schemas.microsoft.com/office/drawing/2014/main" id="{E7587031-AB84-C1DE-DBBD-F90B1D6948DA}"/>
              </a:ext>
            </a:extLst>
          </p:cNvPr>
          <p:cNvSpPr txBox="1">
            <a:spLocks/>
          </p:cNvSpPr>
          <p:nvPr/>
        </p:nvSpPr>
        <p:spPr>
          <a:xfrm>
            <a:off x="731491" y="1271955"/>
            <a:ext cx="6149544" cy="50483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4. Sketch a dam and reservoir using your knowledge of catchment areas and river basins.</a:t>
            </a:r>
          </a:p>
          <a:p>
            <a:pPr marL="311150" indent="-171450">
              <a:buFont typeface="Arial" panose="020B0604020202020204" pitchFamily="34" charset="0"/>
              <a:buChar char="•"/>
            </a:pPr>
            <a:endParaRPr lang="en-US" sz="1200" b="1"/>
          </a:p>
          <a:p>
            <a:pPr marL="311150" indent="-171450">
              <a:buFont typeface="Arial" panose="020B0604020202020204" pitchFamily="34" charset="0"/>
              <a:buChar char="•"/>
            </a:pPr>
            <a:endParaRPr lang="en-US" sz="1200" b="1"/>
          </a:p>
          <a:p>
            <a:pPr marL="311150" indent="-171450">
              <a:buFont typeface="Arial" panose="020B0604020202020204" pitchFamily="34" charset="0"/>
              <a:buChar char="•"/>
            </a:pPr>
            <a:endParaRPr lang="en-US" sz="1200" b="1"/>
          </a:p>
        </p:txBody>
      </p:sp>
      <p:sp>
        <p:nvSpPr>
          <p:cNvPr id="7" name="Rechteck 1">
            <a:extLst>
              <a:ext uri="{FF2B5EF4-FFF2-40B4-BE49-F238E27FC236}">
                <a16:creationId xmlns:a16="http://schemas.microsoft.com/office/drawing/2014/main" id="{EC9A0034-8A59-AAD3-F34A-7694C09F2DA4}"/>
              </a:ext>
            </a:extLst>
          </p:cNvPr>
          <p:cNvSpPr/>
          <p:nvPr/>
        </p:nvSpPr>
        <p:spPr>
          <a:xfrm>
            <a:off x="938898" y="4962810"/>
            <a:ext cx="5740172" cy="4738213"/>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2">
            <a:extLst>
              <a:ext uri="{FF2B5EF4-FFF2-40B4-BE49-F238E27FC236}">
                <a16:creationId xmlns:a16="http://schemas.microsoft.com/office/drawing/2014/main" id="{2A24FC74-E995-67DF-9763-8AB3D33357E2}"/>
              </a:ext>
            </a:extLst>
          </p:cNvPr>
          <p:cNvSpPr>
            <a:spLocks noChangeAspect="1"/>
          </p:cNvSpPr>
          <p:nvPr/>
        </p:nvSpPr>
        <p:spPr>
          <a:xfrm>
            <a:off x="6348738" y="4644102"/>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19" descr="Lesezeichen mit einfarbiger Füllung">
            <a:extLst>
              <a:ext uri="{FF2B5EF4-FFF2-40B4-BE49-F238E27FC236}">
                <a16:creationId xmlns:a16="http://schemas.microsoft.com/office/drawing/2014/main" id="{3DA21146-26EB-47F3-4467-2698BC17C7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6585" y="4771949"/>
            <a:ext cx="404450" cy="404450"/>
          </a:xfrm>
          <a:prstGeom prst="rect">
            <a:avLst/>
          </a:prstGeom>
        </p:spPr>
      </p:pic>
      <p:sp>
        <p:nvSpPr>
          <p:cNvPr id="10" name="Untertitel 5">
            <a:extLst>
              <a:ext uri="{FF2B5EF4-FFF2-40B4-BE49-F238E27FC236}">
                <a16:creationId xmlns:a16="http://schemas.microsoft.com/office/drawing/2014/main" id="{00F8D624-AAA9-3A66-D6AE-C5E9590DF019}"/>
              </a:ext>
            </a:extLst>
          </p:cNvPr>
          <p:cNvSpPr txBox="1">
            <a:spLocks/>
          </p:cNvSpPr>
          <p:nvPr/>
        </p:nvSpPr>
        <p:spPr>
          <a:xfrm>
            <a:off x="1113924" y="5062437"/>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1" name="Untertitel 2">
            <a:extLst>
              <a:ext uri="{FF2B5EF4-FFF2-40B4-BE49-F238E27FC236}">
                <a16:creationId xmlns:a16="http://schemas.microsoft.com/office/drawing/2014/main" id="{FEBDC14F-F6A2-BD14-420F-62ABAEBE6A39}"/>
              </a:ext>
            </a:extLst>
          </p:cNvPr>
          <p:cNvSpPr>
            <a:spLocks noGrp="1"/>
          </p:cNvSpPr>
          <p:nvPr>
            <p:ph type="subTitle" idx="1"/>
          </p:nvPr>
        </p:nvSpPr>
        <p:spPr>
          <a:xfrm>
            <a:off x="1194605" y="5451718"/>
            <a:ext cx="5281980" cy="3640032"/>
          </a:xfrm>
        </p:spPr>
        <p:txBody>
          <a:bodyPr/>
          <a:lstStyle/>
          <a:p>
            <a:pPr marL="285750" indent="-285750">
              <a:buClr>
                <a:schemeClr val="accent5"/>
              </a:buClr>
              <a:buSzPct val="121000"/>
              <a:buFont typeface="Arial" panose="020B0604020202020204" pitchFamily="34" charset="0"/>
              <a:buChar char="•"/>
            </a:pPr>
            <a:r>
              <a:rPr lang="en-US" sz="1200"/>
              <a:t>A </a:t>
            </a:r>
            <a:r>
              <a:rPr lang="en-US" sz="1200" b="1"/>
              <a:t>catchment area</a:t>
            </a:r>
            <a:r>
              <a:rPr lang="en-US" sz="1200"/>
              <a:t> is a smaller, more specific part of land where rainwater collects and flows into a single stream, river, or reservoir.</a:t>
            </a:r>
          </a:p>
          <a:p>
            <a:pPr marL="285750" indent="-285750">
              <a:buClr>
                <a:schemeClr val="accent5"/>
              </a:buClr>
              <a:buSzPct val="121000"/>
              <a:buFont typeface="Arial" panose="020B0604020202020204" pitchFamily="34" charset="0"/>
              <a:buChar char="•"/>
            </a:pPr>
            <a:r>
              <a:rPr lang="en-US" sz="1200"/>
              <a:t>It’s focused on just one </a:t>
            </a:r>
            <a:r>
              <a:rPr lang="en-US" sz="1200" b="1"/>
              <a:t>local</a:t>
            </a:r>
            <a:r>
              <a:rPr lang="en-US" sz="1200"/>
              <a:t> water source, like a small stream or lake.</a:t>
            </a:r>
          </a:p>
          <a:p>
            <a:pPr marL="285750" indent="-285750">
              <a:buFont typeface="Arial" panose="020B0604020202020204" pitchFamily="34" charset="0"/>
              <a:buChar char="•"/>
            </a:pPr>
            <a:endParaRPr lang="en-US" sz="1200"/>
          </a:p>
          <a:p>
            <a:pPr marL="285750" indent="-285750">
              <a:buClr>
                <a:schemeClr val="accent5"/>
              </a:buClr>
              <a:buSzPct val="121000"/>
              <a:buFont typeface="Arial" panose="020B0604020202020204" pitchFamily="34" charset="0"/>
              <a:buChar char="•"/>
            </a:pPr>
            <a:r>
              <a:rPr lang="en-US" sz="1200"/>
              <a:t>A </a:t>
            </a:r>
            <a:r>
              <a:rPr lang="en-US" sz="1200" b="1"/>
              <a:t>river basin </a:t>
            </a:r>
            <a:r>
              <a:rPr lang="en-US" sz="1200"/>
              <a:t>is much larger. It’s the entire area of land where all the water flows into one big river.</a:t>
            </a:r>
          </a:p>
          <a:p>
            <a:pPr marL="285750" indent="-285750">
              <a:buClr>
                <a:schemeClr val="accent5"/>
              </a:buClr>
              <a:buSzPct val="121000"/>
              <a:buFont typeface="Arial" panose="020B0604020202020204" pitchFamily="34" charset="0"/>
              <a:buChar char="•"/>
            </a:pPr>
            <a:r>
              <a:rPr lang="en-US" sz="1200"/>
              <a:t>It includes many smaller catchment areas that feed into streams, which then feed into the gib river (at the bottom).</a:t>
            </a:r>
          </a:p>
          <a:p>
            <a:pPr marL="285750" indent="-285750">
              <a:buFont typeface="Arial" panose="020B0604020202020204" pitchFamily="34" charset="0"/>
              <a:buChar char="•"/>
            </a:pPr>
            <a:endParaRPr lang="en-US" sz="1200"/>
          </a:p>
          <a:p>
            <a:pPr marL="285750" indent="-285750">
              <a:buClr>
                <a:schemeClr val="accent5"/>
              </a:buClr>
              <a:buSzPct val="121000"/>
              <a:buFont typeface="Arial" panose="020B0604020202020204" pitchFamily="34" charset="0"/>
              <a:buChar char="•"/>
            </a:pPr>
            <a:r>
              <a:rPr lang="en-US" sz="1200"/>
              <a:t>A </a:t>
            </a:r>
            <a:r>
              <a:rPr lang="en-US" sz="1200" b="1"/>
              <a:t>dam</a:t>
            </a:r>
            <a:r>
              <a:rPr lang="en-US" sz="1200"/>
              <a:t> is basically a big wall built across a river to stop or slow the flow of water.</a:t>
            </a:r>
          </a:p>
          <a:p>
            <a:pPr marL="285750" indent="-285750">
              <a:buClr>
                <a:schemeClr val="accent5"/>
              </a:buClr>
              <a:buSzPct val="121000"/>
              <a:buFont typeface="Arial" panose="020B0604020202020204" pitchFamily="34" charset="0"/>
              <a:buChar char="•"/>
            </a:pPr>
            <a:r>
              <a:rPr lang="en-US" sz="1200"/>
              <a:t>This creates a lake behind it, called a reservoir, where water is stored.</a:t>
            </a:r>
          </a:p>
          <a:p>
            <a:pPr marL="285750" indent="-285750">
              <a:buClr>
                <a:schemeClr val="accent5"/>
              </a:buClr>
              <a:buSzPct val="121000"/>
              <a:buFont typeface="Arial" panose="020B0604020202020204" pitchFamily="34" charset="0"/>
              <a:buChar char="•"/>
            </a:pPr>
            <a:r>
              <a:rPr lang="en-US" sz="1200"/>
              <a:t>A </a:t>
            </a:r>
            <a:r>
              <a:rPr lang="en-US" sz="1200" b="1"/>
              <a:t>reservoir</a:t>
            </a:r>
            <a:r>
              <a:rPr lang="en-US" sz="1200"/>
              <a:t> is the man-made lake that forms behind the dam.</a:t>
            </a:r>
          </a:p>
          <a:p>
            <a:pPr marL="285750" indent="-285750">
              <a:buClr>
                <a:schemeClr val="accent5"/>
              </a:buClr>
              <a:buSzPct val="121000"/>
              <a:buFont typeface="Arial" panose="020B0604020202020204" pitchFamily="34" charset="0"/>
              <a:buChar char="•"/>
            </a:pPr>
            <a:r>
              <a:rPr lang="en-US" sz="1200"/>
              <a:t>It collects water, especially in mountain areas where rivers flow from melting snow or rain.</a:t>
            </a:r>
          </a:p>
          <a:p>
            <a:pPr marL="285750" indent="-285750">
              <a:buClr>
                <a:schemeClr val="accent5"/>
              </a:buClr>
              <a:buSzPct val="121000"/>
              <a:buFont typeface="Arial" panose="020B0604020202020204" pitchFamily="34" charset="0"/>
              <a:buChar char="•"/>
            </a:pPr>
            <a:r>
              <a:rPr lang="en-US" sz="1200"/>
              <a:t>The stored water can be released when needed, like saving energy in a battery.</a:t>
            </a:r>
            <a:endParaRPr lang="en-DE" sz="1200"/>
          </a:p>
        </p:txBody>
      </p:sp>
      <p:sp>
        <p:nvSpPr>
          <p:cNvPr id="4" name="Textfeld 11">
            <a:extLst>
              <a:ext uri="{FF2B5EF4-FFF2-40B4-BE49-F238E27FC236}">
                <a16:creationId xmlns:a16="http://schemas.microsoft.com/office/drawing/2014/main" id="{5025631F-448B-0AD6-9AD2-E4346C27E636}"/>
              </a:ext>
            </a:extLst>
          </p:cNvPr>
          <p:cNvSpPr txBox="1"/>
          <p:nvPr/>
        </p:nvSpPr>
        <p:spPr>
          <a:xfrm>
            <a:off x="853264" y="1960916"/>
            <a:ext cx="5850051" cy="258772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effectLst/>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pPr algn="ctr"/>
            <a:r>
              <a:rPr lang="en-US" sz="1200" dirty="0">
                <a:solidFill>
                  <a:srgbClr val="FF0000"/>
                </a:solidFill>
                <a:effectLst/>
                <a:latin typeface="Sofia Sans" panose="020B0604020202020204" charset="0"/>
                <a:ea typeface="Times New Roman" panose="02020603050405020304" pitchFamily="18" charset="0"/>
              </a:rPr>
              <a:t>See page </a:t>
            </a:r>
            <a:r>
              <a:rPr lang="en-US" sz="1200" b="1" u="sng" dirty="0">
                <a:solidFill>
                  <a:srgbClr val="FF0000"/>
                </a:solidFill>
                <a:effectLst/>
                <a:latin typeface="Sofia Sans" panose="020B0604020202020204" charset="0"/>
                <a:ea typeface="Times New Roman" panose="02020603050405020304" pitchFamily="18" charset="0"/>
              </a:rPr>
              <a:t>35</a:t>
            </a:r>
            <a:r>
              <a:rPr lang="en-US" sz="1200" dirty="0">
                <a:solidFill>
                  <a:srgbClr val="FF0000"/>
                </a:solidFill>
                <a:effectLst/>
                <a:latin typeface="Sofia Sans" panose="020B0604020202020204" charset="0"/>
                <a:ea typeface="Times New Roman" panose="02020603050405020304" pitchFamily="18" charset="0"/>
              </a:rPr>
              <a:t> teachers presentation </a:t>
            </a:r>
          </a:p>
        </p:txBody>
      </p:sp>
    </p:spTree>
    <p:extLst>
      <p:ext uri="{BB962C8B-B14F-4D97-AF65-F5344CB8AC3E}">
        <p14:creationId xmlns:p14="http://schemas.microsoft.com/office/powerpoint/2010/main" val="2003200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83C659-69AB-762B-636C-EF30E13F66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7B83C659-69AB-762B-636C-EF30E13F6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de-DE" smtClean="0"/>
              <a:t>3</a:t>
            </a:fld>
            <a:endParaRPr lang="de-DE"/>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19138" y="1277938"/>
            <a:ext cx="6254879" cy="81740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spcAft>
                <a:spcPts val="600"/>
              </a:spcAft>
            </a:pPr>
            <a:r>
              <a:rPr lang="en-US" sz="1500" b="1">
                <a:solidFill>
                  <a:srgbClr val="3B5775"/>
                </a:solidFill>
                <a:latin typeface="Epilogue" panose="020B0604020202020204" charset="0"/>
                <a:cs typeface="Epilogue" panose="020B0604020202020204" charset="0"/>
              </a:rPr>
              <a:t>How To Use This Workbook?</a:t>
            </a:r>
          </a:p>
          <a:p>
            <a:pPr marL="144000" indent="0">
              <a:lnSpc>
                <a:spcPct val="114999"/>
              </a:lnSpc>
              <a:buSzPts val="1800"/>
            </a:pPr>
            <a:r>
              <a:rPr lang="en-US" sz="1200">
                <a:latin typeface="Sofia Sans" panose="020B0604020202020204" charset="0"/>
              </a:rPr>
              <a:t>Each chapter offers a broad variety of theoretical knowledge which you will apply in an</a:t>
            </a:r>
          </a:p>
          <a:p>
            <a:pPr marL="144000" indent="0">
              <a:lnSpc>
                <a:spcPct val="114999"/>
              </a:lnSpc>
              <a:buSzPts val="1800"/>
            </a:pPr>
            <a:r>
              <a:rPr lang="en-US" sz="1200">
                <a:latin typeface="Sofia Sans" panose="020B0604020202020204" charset="0"/>
              </a:rPr>
              <a:t>interactive and practical manner afterwards. All explanations and exercises will help you to</a:t>
            </a:r>
          </a:p>
          <a:p>
            <a:pPr marL="144000" indent="0">
              <a:lnSpc>
                <a:spcPct val="114999"/>
              </a:lnSpc>
              <a:buSzPts val="1800"/>
            </a:pPr>
            <a:r>
              <a:rPr lang="en-US" sz="1200">
                <a:latin typeface="Sofia Sans" panose="020B0604020202020204" charset="0"/>
              </a:rPr>
              <a:t>understand and apply the concepts of Hydro energy. </a:t>
            </a:r>
          </a:p>
          <a:p>
            <a:pPr>
              <a:lnSpc>
                <a:spcPct val="114999"/>
              </a:lnSpc>
            </a:pPr>
            <a:endParaRPr lang="en-US" sz="1200">
              <a:solidFill>
                <a:srgbClr val="000000"/>
              </a:solidFill>
              <a:latin typeface="Sofia Sans" panose="020B0604020202020204" charset="0"/>
            </a:endParaRPr>
          </a:p>
          <a:p>
            <a:pPr>
              <a:lnSpc>
                <a:spcPct val="114999"/>
              </a:lnSpc>
            </a:pPr>
            <a:r>
              <a:rPr lang="en-US" sz="1200">
                <a:solidFill>
                  <a:srgbClr val="000000"/>
                </a:solidFill>
                <a:latin typeface="Sofia Sans" panose="020B0604020202020204" charset="0"/>
              </a:rPr>
              <a:t>You’ll find:</a:t>
            </a:r>
          </a:p>
          <a:p>
            <a:pPr marL="360000" indent="-285750">
              <a:lnSpc>
                <a:spcPct val="114999"/>
              </a:lnSpc>
              <a:buClr>
                <a:schemeClr val="accent5"/>
              </a:buClr>
              <a:buFont typeface="Aptos,Sans-Serif"/>
              <a:buChar char="•"/>
            </a:pPr>
            <a:r>
              <a:rPr lang="en-US" sz="1200" i="1">
                <a:solidFill>
                  <a:schemeClr val="tx1">
                    <a:lumMod val="50000"/>
                  </a:schemeClr>
                </a:solidFill>
                <a:latin typeface="Sofia Sans" panose="020B0604020202020204" charset="0"/>
              </a:rPr>
              <a:t>Learning Objectives</a:t>
            </a:r>
            <a:r>
              <a:rPr lang="en-US" sz="1200">
                <a:solidFill>
                  <a:schemeClr val="tx1">
                    <a:lumMod val="50000"/>
                  </a:schemeClr>
                </a:solidFill>
                <a:latin typeface="Sofia Sans" panose="020B0604020202020204" charset="0"/>
              </a:rPr>
              <a:t>: Defined goals for each chapter to help guide your learning and track your progress.</a:t>
            </a:r>
          </a:p>
          <a:p>
            <a:pPr marL="360000" indent="-285750">
              <a:lnSpc>
                <a:spcPct val="114999"/>
              </a:lnSpc>
              <a:buClr>
                <a:schemeClr val="accent5"/>
              </a:buClr>
              <a:buFont typeface="Aptos,Sans-Serif"/>
              <a:buChar char="•"/>
            </a:pPr>
            <a:r>
              <a:rPr lang="en-US" sz="1200" i="1">
                <a:solidFill>
                  <a:schemeClr val="tx1">
                    <a:lumMod val="50000"/>
                  </a:schemeClr>
                </a:solidFill>
                <a:latin typeface="Sofia Sans" panose="020B0604020202020204" charset="0"/>
              </a:rPr>
              <a:t>Key Terms</a:t>
            </a:r>
            <a:r>
              <a:rPr lang="en-US" sz="1200">
                <a:solidFill>
                  <a:schemeClr val="tx1">
                    <a:lumMod val="50000"/>
                  </a:schemeClr>
                </a:solidFill>
                <a:latin typeface="Sofia Sans" panose="020B0604020202020204" charset="0"/>
              </a:rPr>
              <a:t>: Important vocabulary related to Hydro energy.</a:t>
            </a:r>
          </a:p>
          <a:p>
            <a:pPr marL="360000" indent="-285750">
              <a:lnSpc>
                <a:spcPct val="114999"/>
              </a:lnSpc>
              <a:buClr>
                <a:schemeClr val="accent5"/>
              </a:buClr>
              <a:buFont typeface="Aptos,Sans-Serif"/>
              <a:buChar char="•"/>
            </a:pPr>
            <a:r>
              <a:rPr lang="en-US" sz="1200" i="1">
                <a:solidFill>
                  <a:schemeClr val="tx1">
                    <a:lumMod val="50000"/>
                  </a:schemeClr>
                </a:solidFill>
                <a:latin typeface="Sofia Sans" panose="020B0604020202020204" charset="0"/>
              </a:rPr>
              <a:t>Hands-On Activities</a:t>
            </a:r>
            <a:r>
              <a:rPr lang="en-US" sz="1200">
                <a:solidFill>
                  <a:schemeClr val="tx1">
                    <a:lumMod val="50000"/>
                  </a:schemeClr>
                </a:solidFill>
                <a:latin typeface="Sofia Sans" panose="020B0604020202020204" charset="0"/>
              </a:rPr>
              <a:t>: Practical exercises that reinforce the concepts you're learning.</a:t>
            </a:r>
          </a:p>
          <a:p>
            <a:pPr marL="360000" indent="-285750">
              <a:lnSpc>
                <a:spcPct val="114999"/>
              </a:lnSpc>
              <a:buClr>
                <a:schemeClr val="accent5"/>
              </a:buClr>
              <a:buFont typeface="Aptos,Sans-Serif"/>
              <a:buChar char="•"/>
            </a:pPr>
            <a:r>
              <a:rPr lang="en-US" sz="1200" i="1">
                <a:solidFill>
                  <a:schemeClr val="tx1">
                    <a:lumMod val="50000"/>
                  </a:schemeClr>
                </a:solidFill>
                <a:latin typeface="Sofia Sans" panose="020B0604020202020204" charset="0"/>
              </a:rPr>
              <a:t>Check Your Understanding</a:t>
            </a:r>
            <a:r>
              <a:rPr lang="en-US" sz="1200">
                <a:solidFill>
                  <a:schemeClr val="tx1">
                    <a:lumMod val="50000"/>
                  </a:schemeClr>
                </a:solidFill>
                <a:latin typeface="Sofia Sans" panose="020B0604020202020204" charset="0"/>
              </a:rPr>
              <a:t>: Questions and quizzes to assess your knowledge and understanding of the material.</a:t>
            </a:r>
          </a:p>
          <a:p>
            <a:pPr marL="360000" indent="-285750">
              <a:lnSpc>
                <a:spcPct val="114999"/>
              </a:lnSpc>
              <a:buClr>
                <a:schemeClr val="accent5"/>
              </a:buClr>
              <a:buFont typeface="Aptos,Sans-Serif"/>
              <a:buChar char="•"/>
            </a:pPr>
            <a:r>
              <a:rPr lang="en-US" sz="1200" i="1">
                <a:solidFill>
                  <a:schemeClr val="tx1">
                    <a:lumMod val="50000"/>
                  </a:schemeClr>
                </a:solidFill>
                <a:latin typeface="Sofia Sans" panose="020B0604020202020204" charset="0"/>
              </a:rPr>
              <a:t>Project Ideas</a:t>
            </a:r>
            <a:r>
              <a:rPr lang="en-US" sz="1200">
                <a:solidFill>
                  <a:schemeClr val="tx1">
                    <a:lumMod val="50000"/>
                  </a:schemeClr>
                </a:solidFill>
                <a:latin typeface="Sofia Sans" panose="020B0604020202020204" charset="0"/>
              </a:rPr>
              <a:t>: Suggestions for projects you can undertake to explore PV energy further.</a:t>
            </a:r>
          </a:p>
          <a:p>
            <a:pPr>
              <a:lnSpc>
                <a:spcPct val="114999"/>
              </a:lnSpc>
            </a:pPr>
            <a:endParaRPr lang="de-DE" sz="1200" i="1">
              <a:solidFill>
                <a:schemeClr val="tx1">
                  <a:lumMod val="50000"/>
                </a:schemeClr>
              </a:solidFill>
              <a:latin typeface="Sofia Sans" panose="020B0604020202020204" charset="0"/>
            </a:endParaRPr>
          </a:p>
          <a:p>
            <a:pPr marL="144000" indent="0">
              <a:lnSpc>
                <a:spcPct val="114999"/>
              </a:lnSpc>
              <a:buSzPts val="1800"/>
            </a:pPr>
            <a:r>
              <a:rPr lang="en-US" sz="1200">
                <a:latin typeface="Sofia Sans" panose="020B0604020202020204" charset="0"/>
              </a:rPr>
              <a:t>By the end of this workbook, you'll have a solid understanding of Hydro energy and its potential to shape a sustainable future. You'll be equipped with the knowledge to think critically about energy solutions and the skills to engage in innovative projects. Let's get started on this enlightening journey and discover how we can harness the power of water to create a brighter tomorrow!</a:t>
            </a:r>
            <a:endParaRPr lang="de-DE" sz="1200">
              <a:latin typeface="Sofia Sans" panose="020B0604020202020204" charset="0"/>
            </a:endParaRPr>
          </a:p>
          <a:p>
            <a:pPr>
              <a:lnSpc>
                <a:spcPct val="114999"/>
              </a:lnSpc>
            </a:pPr>
            <a:endParaRPr lang="en-US" sz="1200">
              <a:solidFill>
                <a:schemeClr val="tx1">
                  <a:lumMod val="50000"/>
                </a:schemeClr>
              </a:solidFill>
              <a:latin typeface="Sofia Sans" panose="020B0604020202020204" charset="0"/>
            </a:endParaRPr>
          </a:p>
          <a:p>
            <a:pPr marL="285750" indent="-285750">
              <a:lnSpc>
                <a:spcPct val="114999"/>
              </a:lnSpc>
              <a:buFont typeface="Aptos,Sans-Serif"/>
              <a:buChar char="•"/>
            </a:pPr>
            <a:endParaRPr lang="en-GB" sz="1200">
              <a:solidFill>
                <a:schemeClr val="tx1">
                  <a:lumMod val="50000"/>
                </a:schemeClr>
              </a:solidFill>
              <a:latin typeface="Sofia Sans" panose="020B0604020202020204" charset="0"/>
            </a:endParaRPr>
          </a:p>
          <a:p>
            <a:pPr marL="285750" indent="-285750">
              <a:lnSpc>
                <a:spcPct val="114999"/>
              </a:lnSpc>
              <a:buFont typeface="Aptos,Sans-Serif"/>
              <a:buChar char="•"/>
            </a:pPr>
            <a:endParaRPr lang="en-GB" sz="1200">
              <a:solidFill>
                <a:schemeClr val="tx1">
                  <a:lumMod val="50000"/>
                </a:schemeClr>
              </a:solidFill>
              <a:latin typeface="Sofia Sans" panose="020B0604020202020204" charset="0"/>
            </a:endParaRPr>
          </a:p>
          <a:p>
            <a:pPr>
              <a:lnSpc>
                <a:spcPct val="114999"/>
              </a:lnSpc>
            </a:pPr>
            <a:endParaRPr lang="en-US" sz="1200" b="1">
              <a:solidFill>
                <a:schemeClr val="tx1">
                  <a:lumMod val="50000"/>
                </a:schemeClr>
              </a:solidFill>
              <a:latin typeface="Sofia Sans" panose="020B0604020202020204" charset="0"/>
            </a:endParaRPr>
          </a:p>
        </p:txBody>
      </p:sp>
      <p:pic>
        <p:nvPicPr>
          <p:cNvPr id="3" name="Grafik 2" descr="Ein Bild, das Karte, Text, Kreis, Logo enthält.&#10;&#10;KI-generierte Inhalte können fehlerhaft sein.">
            <a:extLst>
              <a:ext uri="{FF2B5EF4-FFF2-40B4-BE49-F238E27FC236}">
                <a16:creationId xmlns:a16="http://schemas.microsoft.com/office/drawing/2014/main" id="{7BD21D11-CE66-2822-1D6D-AA08478CBAAA}"/>
              </a:ext>
            </a:extLst>
          </p:cNvPr>
          <p:cNvPicPr>
            <a:picLocks noChangeAspect="1"/>
          </p:cNvPicPr>
          <p:nvPr/>
        </p:nvPicPr>
        <p:blipFill>
          <a:blip r:embed="rId5"/>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9848512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8A73E-6EE3-F46D-A7B8-705D4407D80C}"/>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F424D36-C196-05FC-0392-546877B44ABA}"/>
              </a:ext>
            </a:extLst>
          </p:cNvPr>
          <p:cNvSpPr>
            <a:spLocks noGrp="1"/>
          </p:cNvSpPr>
          <p:nvPr>
            <p:ph type="sldNum" sz="quarter" idx="4"/>
          </p:nvPr>
        </p:nvSpPr>
        <p:spPr/>
        <p:txBody>
          <a:bodyPr/>
          <a:lstStyle/>
          <a:p>
            <a:fld id="{DF7F771E-9578-4C04-B869-01AF4C35C90C}" type="slidenum">
              <a:rPr lang="de-DE" smtClean="0"/>
              <a:t>30</a:t>
            </a:fld>
            <a:endParaRPr lang="de-DE"/>
          </a:p>
        </p:txBody>
      </p:sp>
      <p:sp>
        <p:nvSpPr>
          <p:cNvPr id="4" name="Titel 1">
            <a:extLst>
              <a:ext uri="{FF2B5EF4-FFF2-40B4-BE49-F238E27FC236}">
                <a16:creationId xmlns:a16="http://schemas.microsoft.com/office/drawing/2014/main" id="{532A621E-3B61-186A-4B1F-A6FBD5030527}"/>
              </a:ext>
            </a:extLst>
          </p:cNvPr>
          <p:cNvSpPr>
            <a:spLocks noGrp="1"/>
          </p:cNvSpPr>
          <p:nvPr>
            <p:ph type="title"/>
          </p:nvPr>
        </p:nvSpPr>
        <p:spPr>
          <a:xfrm>
            <a:off x="719138" y="1277938"/>
            <a:ext cx="6380336" cy="1190474"/>
          </a:xfrm>
        </p:spPr>
        <p:txBody>
          <a:bodyPr/>
          <a:lstStyle/>
          <a:p>
            <a:r>
              <a:rPr lang="de-DE"/>
              <a:t>5. Environmental Impacts Game</a:t>
            </a:r>
          </a:p>
        </p:txBody>
      </p:sp>
      <p:sp>
        <p:nvSpPr>
          <p:cNvPr id="6" name="Untertitel 3">
            <a:extLst>
              <a:ext uri="{FF2B5EF4-FFF2-40B4-BE49-F238E27FC236}">
                <a16:creationId xmlns:a16="http://schemas.microsoft.com/office/drawing/2014/main" id="{C5CCA8B8-2341-865D-23EE-A5FD7B9CD804}"/>
              </a:ext>
            </a:extLst>
          </p:cNvPr>
          <p:cNvSpPr txBox="1">
            <a:spLocks/>
          </p:cNvSpPr>
          <p:nvPr/>
        </p:nvSpPr>
        <p:spPr>
          <a:xfrm>
            <a:off x="719137" y="1973637"/>
            <a:ext cx="5874637" cy="9325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t>In this Challenge, you and your team will explore and identify the effects of silting, </a:t>
            </a:r>
          </a:p>
          <a:p>
            <a:r>
              <a:rPr lang="en-US" sz="1200"/>
              <a:t>flooding, and water obstructions on land. Through a hands-on experiment, you will </a:t>
            </a:r>
          </a:p>
          <a:p>
            <a:pPr marL="144000" indent="0"/>
            <a:r>
              <a:rPr lang="en-US" sz="1200"/>
              <a:t>observe how these factors can alter the landscape, impact soil stability, and shape the environment over time.</a:t>
            </a:r>
            <a:endParaRPr lang="de-DE" sz="1200"/>
          </a:p>
        </p:txBody>
      </p:sp>
      <p:grpSp>
        <p:nvGrpSpPr>
          <p:cNvPr id="7" name="Gruppieren 6">
            <a:extLst>
              <a:ext uri="{FF2B5EF4-FFF2-40B4-BE49-F238E27FC236}">
                <a16:creationId xmlns:a16="http://schemas.microsoft.com/office/drawing/2014/main" id="{9F8E787C-9F11-F1B5-64FC-7838DCF8BFBF}"/>
              </a:ext>
            </a:extLst>
          </p:cNvPr>
          <p:cNvGrpSpPr/>
          <p:nvPr/>
        </p:nvGrpSpPr>
        <p:grpSpPr>
          <a:xfrm>
            <a:off x="719138" y="3344928"/>
            <a:ext cx="1916445" cy="480127"/>
            <a:chOff x="896028" y="2482191"/>
            <a:chExt cx="1916445" cy="480127"/>
          </a:xfrm>
        </p:grpSpPr>
        <p:sp>
          <p:nvSpPr>
            <p:cNvPr id="5" name="Untertitel 5">
              <a:extLst>
                <a:ext uri="{FF2B5EF4-FFF2-40B4-BE49-F238E27FC236}">
                  <a16:creationId xmlns:a16="http://schemas.microsoft.com/office/drawing/2014/main" id="{448F145A-01BE-105D-1048-3185540C411A}"/>
                </a:ext>
              </a:extLst>
            </p:cNvPr>
            <p:cNvSpPr txBox="1">
              <a:spLocks/>
            </p:cNvSpPr>
            <p:nvPr/>
          </p:nvSpPr>
          <p:spPr>
            <a:xfrm>
              <a:off x="1270192" y="2511686"/>
              <a:ext cx="1542281"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Challenge!</a:t>
              </a:r>
            </a:p>
          </p:txBody>
        </p:sp>
        <p:sp>
          <p:nvSpPr>
            <p:cNvPr id="8" name="Ellipse 7">
              <a:extLst>
                <a:ext uri="{FF2B5EF4-FFF2-40B4-BE49-F238E27FC236}">
                  <a16:creationId xmlns:a16="http://schemas.microsoft.com/office/drawing/2014/main" id="{EE562003-5896-3025-7F06-A689F773B14A}"/>
                </a:ext>
              </a:extLst>
            </p:cNvPr>
            <p:cNvSpPr>
              <a:spLocks noChangeAspect="1"/>
            </p:cNvSpPr>
            <p:nvPr/>
          </p:nvSpPr>
          <p:spPr>
            <a:xfrm>
              <a:off x="896028" y="2482191"/>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descr="Lupe mit einfarbiger Füllung">
              <a:extLst>
                <a:ext uri="{FF2B5EF4-FFF2-40B4-BE49-F238E27FC236}">
                  <a16:creationId xmlns:a16="http://schemas.microsoft.com/office/drawing/2014/main" id="{A7B05266-2B39-92C5-22DC-F372410B29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4101" y="2545871"/>
              <a:ext cx="333865" cy="333865"/>
            </a:xfrm>
            <a:prstGeom prst="rect">
              <a:avLst/>
            </a:prstGeom>
          </p:spPr>
        </p:pic>
      </p:grpSp>
      <p:sp>
        <p:nvSpPr>
          <p:cNvPr id="2" name="Rechteck 1">
            <a:extLst>
              <a:ext uri="{FF2B5EF4-FFF2-40B4-BE49-F238E27FC236}">
                <a16:creationId xmlns:a16="http://schemas.microsoft.com/office/drawing/2014/main" id="{66E8161D-584C-6D65-594B-58AF2A77DB82}"/>
              </a:ext>
            </a:extLst>
          </p:cNvPr>
          <p:cNvSpPr/>
          <p:nvPr/>
        </p:nvSpPr>
        <p:spPr>
          <a:xfrm>
            <a:off x="853603" y="4041327"/>
            <a:ext cx="5740172" cy="5224987"/>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Font typeface="Arial" panose="020B0604020202020204" pitchFamily="34" charset="0"/>
              <a:buChar char="•"/>
            </a:pPr>
            <a:endParaRPr lang="de-DE"/>
          </a:p>
        </p:txBody>
      </p:sp>
      <p:sp>
        <p:nvSpPr>
          <p:cNvPr id="12" name="Untertitel 5">
            <a:extLst>
              <a:ext uri="{FF2B5EF4-FFF2-40B4-BE49-F238E27FC236}">
                <a16:creationId xmlns:a16="http://schemas.microsoft.com/office/drawing/2014/main" id="{3B77041F-47E6-1593-2979-99B38379A49A}"/>
              </a:ext>
            </a:extLst>
          </p:cNvPr>
          <p:cNvSpPr txBox="1">
            <a:spLocks/>
          </p:cNvSpPr>
          <p:nvPr/>
        </p:nvSpPr>
        <p:spPr>
          <a:xfrm>
            <a:off x="993427" y="4092956"/>
            <a:ext cx="5076826" cy="85108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600" noProof="0"/>
              <a:t>Material you will need for the challenge</a:t>
            </a:r>
            <a:endParaRPr lang="en-US" u="sng"/>
          </a:p>
        </p:txBody>
      </p:sp>
      <p:sp>
        <p:nvSpPr>
          <p:cNvPr id="10" name="Untertitel 5">
            <a:extLst>
              <a:ext uri="{FF2B5EF4-FFF2-40B4-BE49-F238E27FC236}">
                <a16:creationId xmlns:a16="http://schemas.microsoft.com/office/drawing/2014/main" id="{D4BC6FEF-87AA-944E-F476-EA8A8F3637E2}"/>
              </a:ext>
            </a:extLst>
          </p:cNvPr>
          <p:cNvSpPr txBox="1">
            <a:spLocks/>
          </p:cNvSpPr>
          <p:nvPr/>
        </p:nvSpPr>
        <p:spPr>
          <a:xfrm>
            <a:off x="1135345" y="4893781"/>
            <a:ext cx="5288983" cy="213456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Plastic Box (at least A4 size)</a:t>
            </a:r>
            <a:endParaRPr lang="de-DE" sz="1200">
              <a:latin typeface="Sofia Sans" panose="020B0604020202020204" charset="0"/>
            </a:endParaRP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Sand</a:t>
            </a: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Beaker with 300 mL of water</a:t>
            </a: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2 rulers</a:t>
            </a: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Bucket / Sink</a:t>
            </a: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Cardboard (cut to match the width of the pan's interior, with a 2-3 cm opening in the center)</a:t>
            </a:r>
          </a:p>
          <a:p>
            <a:pPr>
              <a:lnSpc>
                <a:spcPct val="150000"/>
              </a:lnSpc>
              <a:buClr>
                <a:schemeClr val="accent5"/>
              </a:buClr>
              <a:buSzPct val="121000"/>
              <a:buFont typeface="Arial" panose="020B0604020202020204" pitchFamily="34" charset="0"/>
              <a:buChar char="•"/>
            </a:pPr>
            <a:r>
              <a:rPr lang="en-US" sz="1200" b="0">
                <a:latin typeface="Sofia Sans" panose="020B0604020202020204" charset="0"/>
              </a:rPr>
              <a:t>Books (to support the pan and create an incline of at least 5cm)</a:t>
            </a:r>
          </a:p>
        </p:txBody>
      </p:sp>
      <p:sp>
        <p:nvSpPr>
          <p:cNvPr id="11" name="Untertitel 3">
            <a:extLst>
              <a:ext uri="{FF2B5EF4-FFF2-40B4-BE49-F238E27FC236}">
                <a16:creationId xmlns:a16="http://schemas.microsoft.com/office/drawing/2014/main" id="{635C27BA-F29A-FCF3-BB2A-49BE54221CA3}"/>
              </a:ext>
            </a:extLst>
          </p:cNvPr>
          <p:cNvSpPr txBox="1">
            <a:spLocks/>
          </p:cNvSpPr>
          <p:nvPr/>
        </p:nvSpPr>
        <p:spPr>
          <a:xfrm>
            <a:off x="1136189" y="7194272"/>
            <a:ext cx="5326643" cy="19302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Setup Preparation </a:t>
            </a:r>
          </a:p>
          <a:p>
            <a:endParaRPr lang="en-US" sz="1200" b="1"/>
          </a:p>
          <a:p>
            <a:pPr marL="368300" indent="-228600">
              <a:lnSpc>
                <a:spcPct val="150000"/>
              </a:lnSpc>
              <a:buClr>
                <a:schemeClr val="accent5"/>
              </a:buClr>
              <a:buSzPct val="121000"/>
              <a:buFont typeface="+mj-lt"/>
              <a:buAutoNum type="arabicPeriod"/>
            </a:pPr>
            <a:r>
              <a:rPr lang="en-US" sz="1200" b="0"/>
              <a:t>Fill up the closed end of the box with sand to a depth of </a:t>
            </a:r>
            <a:r>
              <a:rPr lang="en-US" sz="1200"/>
              <a:t>5</a:t>
            </a:r>
            <a:r>
              <a:rPr lang="en-US" sz="1200" b="0"/>
              <a:t> centimeters.</a:t>
            </a:r>
          </a:p>
          <a:p>
            <a:pPr marL="368300" indent="-228600">
              <a:lnSpc>
                <a:spcPct val="150000"/>
              </a:lnSpc>
              <a:buClr>
                <a:schemeClr val="accent5"/>
              </a:buClr>
              <a:buSzPct val="121000"/>
              <a:buFont typeface="+mj-lt"/>
              <a:buAutoNum type="arabicPeriod"/>
            </a:pPr>
            <a:r>
              <a:rPr lang="en-US" sz="1200" b="0"/>
              <a:t>Smooth the surface of the sand to create an even layer.</a:t>
            </a:r>
          </a:p>
          <a:p>
            <a:pPr marL="368300" indent="-228600">
              <a:lnSpc>
                <a:spcPct val="150000"/>
              </a:lnSpc>
              <a:buClr>
                <a:schemeClr val="accent5"/>
              </a:buClr>
              <a:buSzPct val="121000"/>
              <a:buFont typeface="+mj-lt"/>
              <a:buAutoNum type="arabicPeriod"/>
            </a:pPr>
            <a:r>
              <a:rPr lang="en-US" sz="1200" b="0"/>
              <a:t>Position the </a:t>
            </a:r>
            <a:r>
              <a:rPr lang="en-US" sz="1200"/>
              <a:t>plastic box</a:t>
            </a:r>
            <a:r>
              <a:rPr lang="en-US" sz="1200" b="0"/>
              <a:t> so that the end with the drain hole is placed over a bucket or sink to catch runoff water.</a:t>
            </a:r>
            <a:endParaRPr lang="en-US" sz="1200"/>
          </a:p>
          <a:p>
            <a:pPr marL="139700" indent="0">
              <a:lnSpc>
                <a:spcPct val="150000"/>
              </a:lnSpc>
              <a:buClr>
                <a:schemeClr val="accent5"/>
              </a:buClr>
              <a:buSzPct val="121000"/>
            </a:pPr>
            <a:r>
              <a:rPr lang="en-US" sz="1200"/>
              <a:t>You can find an example setup of the Impacts game on the next page.</a:t>
            </a:r>
            <a:endParaRPr lang="en-US" sz="1200" b="0"/>
          </a:p>
          <a:p>
            <a:pPr>
              <a:buFont typeface="+mj-lt"/>
              <a:buAutoNum type="arabicPeriod"/>
            </a:pPr>
            <a:endParaRPr lang="en-US" sz="1200" b="1"/>
          </a:p>
        </p:txBody>
      </p:sp>
      <p:grpSp>
        <p:nvGrpSpPr>
          <p:cNvPr id="9" name="Gruppieren 14">
            <a:extLst>
              <a:ext uri="{FF2B5EF4-FFF2-40B4-BE49-F238E27FC236}">
                <a16:creationId xmlns:a16="http://schemas.microsoft.com/office/drawing/2014/main" id="{B644701C-DD2D-9DEF-E7B3-6841CC55B750}"/>
              </a:ext>
            </a:extLst>
          </p:cNvPr>
          <p:cNvGrpSpPr/>
          <p:nvPr/>
        </p:nvGrpSpPr>
        <p:grpSpPr>
          <a:xfrm>
            <a:off x="6384468" y="3849764"/>
            <a:ext cx="415015" cy="412039"/>
            <a:chOff x="6140363" y="3097010"/>
            <a:chExt cx="660144" cy="660145"/>
          </a:xfrm>
        </p:grpSpPr>
        <p:sp>
          <p:nvSpPr>
            <p:cNvPr id="16" name="Ellipse 12">
              <a:extLst>
                <a:ext uri="{FF2B5EF4-FFF2-40B4-BE49-F238E27FC236}">
                  <a16:creationId xmlns:a16="http://schemas.microsoft.com/office/drawing/2014/main" id="{B28277ED-016A-2013-8D49-A8326A76DDFD}"/>
                </a:ext>
              </a:extLst>
            </p:cNvPr>
            <p:cNvSpPr>
              <a:spLocks noChangeAspect="1"/>
            </p:cNvSpPr>
            <p:nvPr/>
          </p:nvSpPr>
          <p:spPr>
            <a:xfrm>
              <a:off x="6140363" y="3097010"/>
              <a:ext cx="660144"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3" descr="Inventar mit einfarbiger Füllung">
              <a:extLst>
                <a:ext uri="{FF2B5EF4-FFF2-40B4-BE49-F238E27FC236}">
                  <a16:creationId xmlns:a16="http://schemas.microsoft.com/office/drawing/2014/main" id="{1B349A8E-2C2A-941A-020B-DDBF73C1C1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13" name="Grafik 12" descr="Ein Bild, das Klavier enthält.&#10;&#10;Beschreibung automatisch generiert.">
            <a:extLst>
              <a:ext uri="{FF2B5EF4-FFF2-40B4-BE49-F238E27FC236}">
                <a16:creationId xmlns:a16="http://schemas.microsoft.com/office/drawing/2014/main" id="{F27961DD-EDCA-D5BD-889C-7DA2CEFB0B73}"/>
              </a:ext>
            </a:extLst>
          </p:cNvPr>
          <p:cNvPicPr>
            <a:picLocks noChangeAspect="1"/>
          </p:cNvPicPr>
          <p:nvPr/>
        </p:nvPicPr>
        <p:blipFill>
          <a:blip r:embed="rId6"/>
          <a:stretch>
            <a:fillRect/>
          </a:stretch>
        </p:blipFill>
        <p:spPr>
          <a:xfrm>
            <a:off x="5737063" y="4941754"/>
            <a:ext cx="657192" cy="566090"/>
          </a:xfrm>
          <a:prstGeom prst="rect">
            <a:avLst/>
          </a:prstGeom>
        </p:spPr>
      </p:pic>
      <p:pic>
        <p:nvPicPr>
          <p:cNvPr id="14" name="Grafik 13" descr="Ein Bild, das Kreativität, Okarina enthält.&#10;&#10;Beschreibung automatisch generiert.">
            <a:extLst>
              <a:ext uri="{FF2B5EF4-FFF2-40B4-BE49-F238E27FC236}">
                <a16:creationId xmlns:a16="http://schemas.microsoft.com/office/drawing/2014/main" id="{1D7095C3-AA30-76B9-3BF5-A9064AB2DAF5}"/>
              </a:ext>
            </a:extLst>
          </p:cNvPr>
          <p:cNvPicPr>
            <a:picLocks noChangeAspect="1"/>
          </p:cNvPicPr>
          <p:nvPr/>
        </p:nvPicPr>
        <p:blipFill>
          <a:blip r:embed="rId7"/>
          <a:stretch>
            <a:fillRect/>
          </a:stretch>
        </p:blipFill>
        <p:spPr>
          <a:xfrm>
            <a:off x="4432315" y="4421730"/>
            <a:ext cx="1126830" cy="1171858"/>
          </a:xfrm>
          <a:prstGeom prst="rect">
            <a:avLst/>
          </a:prstGeom>
        </p:spPr>
      </p:pic>
      <p:pic>
        <p:nvPicPr>
          <p:cNvPr id="15" name="Grafik 14" descr="Ein Bild, das Screenshot, Cartoon, Design enthält.&#10;&#10;Beschreibung automatisch generiert.">
            <a:extLst>
              <a:ext uri="{FF2B5EF4-FFF2-40B4-BE49-F238E27FC236}">
                <a16:creationId xmlns:a16="http://schemas.microsoft.com/office/drawing/2014/main" id="{A9EAC39A-E9FE-8EF5-67DC-02274D088784}"/>
              </a:ext>
            </a:extLst>
          </p:cNvPr>
          <p:cNvPicPr>
            <a:picLocks noChangeAspect="1"/>
          </p:cNvPicPr>
          <p:nvPr/>
        </p:nvPicPr>
        <p:blipFill>
          <a:blip r:embed="rId8"/>
          <a:stretch>
            <a:fillRect/>
          </a:stretch>
        </p:blipFill>
        <p:spPr>
          <a:xfrm>
            <a:off x="5703443" y="4232350"/>
            <a:ext cx="687490" cy="596378"/>
          </a:xfrm>
          <a:prstGeom prst="rect">
            <a:avLst/>
          </a:prstGeom>
        </p:spPr>
      </p:pic>
      <p:pic>
        <p:nvPicPr>
          <p:cNvPr id="18" name="Grafik 17" descr="Ein Bild, das Screenshot, Farbigkeit, Kinderkunst, Kunst enthält.&#10;&#10;Beschreibung automatisch generiert.">
            <a:extLst>
              <a:ext uri="{FF2B5EF4-FFF2-40B4-BE49-F238E27FC236}">
                <a16:creationId xmlns:a16="http://schemas.microsoft.com/office/drawing/2014/main" id="{E3D6855D-5014-5F0C-8396-1EDB54B06E63}"/>
              </a:ext>
            </a:extLst>
          </p:cNvPr>
          <p:cNvPicPr>
            <a:picLocks noChangeAspect="1"/>
          </p:cNvPicPr>
          <p:nvPr/>
        </p:nvPicPr>
        <p:blipFill>
          <a:blip r:embed="rId9"/>
          <a:stretch>
            <a:fillRect/>
          </a:stretch>
        </p:blipFill>
        <p:spPr>
          <a:xfrm>
            <a:off x="5210334" y="5339670"/>
            <a:ext cx="642042" cy="596379"/>
          </a:xfrm>
          <a:prstGeom prst="rect">
            <a:avLst/>
          </a:prstGeom>
        </p:spPr>
      </p:pic>
    </p:spTree>
    <p:extLst>
      <p:ext uri="{BB962C8B-B14F-4D97-AF65-F5344CB8AC3E}">
        <p14:creationId xmlns:p14="http://schemas.microsoft.com/office/powerpoint/2010/main" val="40506174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523E5-CC9D-E74D-20EF-142101EA8253}"/>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5806255-5CFC-C38D-EA85-D56B2236E642}"/>
              </a:ext>
            </a:extLst>
          </p:cNvPr>
          <p:cNvSpPr>
            <a:spLocks noGrp="1"/>
          </p:cNvSpPr>
          <p:nvPr>
            <p:ph type="sldNum" sz="quarter" idx="16"/>
          </p:nvPr>
        </p:nvSpPr>
        <p:spPr/>
        <p:txBody>
          <a:bodyPr/>
          <a:lstStyle/>
          <a:p>
            <a:fld id="{DF7F771E-9578-4C04-B869-01AF4C35C90C}" type="slidenum">
              <a:rPr lang="de-DE" smtClean="0"/>
              <a:t>31</a:t>
            </a:fld>
            <a:endParaRPr lang="de-DE"/>
          </a:p>
        </p:txBody>
      </p:sp>
      <p:grpSp>
        <p:nvGrpSpPr>
          <p:cNvPr id="42" name="Gruppieren 41">
            <a:extLst>
              <a:ext uri="{FF2B5EF4-FFF2-40B4-BE49-F238E27FC236}">
                <a16:creationId xmlns:a16="http://schemas.microsoft.com/office/drawing/2014/main" id="{190C0361-82F6-EBDD-6908-525ECDD88115}"/>
              </a:ext>
            </a:extLst>
          </p:cNvPr>
          <p:cNvGrpSpPr/>
          <p:nvPr/>
        </p:nvGrpSpPr>
        <p:grpSpPr>
          <a:xfrm>
            <a:off x="1026176" y="2377448"/>
            <a:ext cx="5699330" cy="4852949"/>
            <a:chOff x="1050060" y="2362870"/>
            <a:chExt cx="5506314" cy="4688592"/>
          </a:xfrm>
        </p:grpSpPr>
        <p:sp>
          <p:nvSpPr>
            <p:cNvPr id="2" name="Rechteck 1">
              <a:extLst>
                <a:ext uri="{FF2B5EF4-FFF2-40B4-BE49-F238E27FC236}">
                  <a16:creationId xmlns:a16="http://schemas.microsoft.com/office/drawing/2014/main" id="{FDF690F4-D16C-A8BA-BE7A-F95D22C93F2B}"/>
                </a:ext>
              </a:extLst>
            </p:cNvPr>
            <p:cNvSpPr/>
            <p:nvPr/>
          </p:nvSpPr>
          <p:spPr>
            <a:xfrm rot="467260">
              <a:off x="2114237" y="4153586"/>
              <a:ext cx="3917950" cy="779477"/>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4" name="Gerader Verbinder 3">
              <a:extLst>
                <a:ext uri="{FF2B5EF4-FFF2-40B4-BE49-F238E27FC236}">
                  <a16:creationId xmlns:a16="http://schemas.microsoft.com/office/drawing/2014/main" id="{F951B099-5235-EB6B-B742-01DAD297C2A5}"/>
                </a:ext>
              </a:extLst>
            </p:cNvPr>
            <p:cNvCxnSpPr/>
            <p:nvPr/>
          </p:nvCxnSpPr>
          <p:spPr>
            <a:xfrm flipH="1" flipV="1">
              <a:off x="1141300" y="5149850"/>
              <a:ext cx="4821350" cy="450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Ellipse 4">
              <a:extLst>
                <a:ext uri="{FF2B5EF4-FFF2-40B4-BE49-F238E27FC236}">
                  <a16:creationId xmlns:a16="http://schemas.microsoft.com/office/drawing/2014/main" id="{69D03FBC-97A6-99B6-4577-6132D8AA576C}"/>
                </a:ext>
              </a:extLst>
            </p:cNvPr>
            <p:cNvSpPr/>
            <p:nvPr/>
          </p:nvSpPr>
          <p:spPr>
            <a:xfrm>
              <a:off x="5843587" y="5067916"/>
              <a:ext cx="127000" cy="127000"/>
            </a:xfrm>
            <a:prstGeom prst="ellipse">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8" name="Gerader Verbinder 7">
              <a:extLst>
                <a:ext uri="{FF2B5EF4-FFF2-40B4-BE49-F238E27FC236}">
                  <a16:creationId xmlns:a16="http://schemas.microsoft.com/office/drawing/2014/main" id="{162FF217-2F8D-FBE6-7792-185FFB6792A2}"/>
                </a:ext>
              </a:extLst>
            </p:cNvPr>
            <p:cNvCxnSpPr>
              <a:cxnSpLocks/>
              <a:endCxn id="12" idx="0"/>
            </p:cNvCxnSpPr>
            <p:nvPr/>
          </p:nvCxnSpPr>
          <p:spPr>
            <a:xfrm>
              <a:off x="2155031" y="4154295"/>
              <a:ext cx="1817652" cy="2724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Bogen 11">
              <a:extLst>
                <a:ext uri="{FF2B5EF4-FFF2-40B4-BE49-F238E27FC236}">
                  <a16:creationId xmlns:a16="http://schemas.microsoft.com/office/drawing/2014/main" id="{83A9083D-3FF4-3805-932B-9AF4A78B8396}"/>
                </a:ext>
              </a:extLst>
            </p:cNvPr>
            <p:cNvSpPr/>
            <p:nvPr/>
          </p:nvSpPr>
          <p:spPr>
            <a:xfrm>
              <a:off x="3202945" y="4423600"/>
              <a:ext cx="1394158" cy="1166990"/>
            </a:xfrm>
            <a:prstGeom prst="arc">
              <a:avLst>
                <a:gd name="adj1" fmla="val 16628195"/>
                <a:gd name="adj2" fmla="val 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6" name="Textfeld 15">
              <a:extLst>
                <a:ext uri="{FF2B5EF4-FFF2-40B4-BE49-F238E27FC236}">
                  <a16:creationId xmlns:a16="http://schemas.microsoft.com/office/drawing/2014/main" id="{63BFFDA8-0D8A-C807-3013-AB2F3003AE4A}"/>
                </a:ext>
              </a:extLst>
            </p:cNvPr>
            <p:cNvSpPr txBox="1"/>
            <p:nvPr/>
          </p:nvSpPr>
          <p:spPr>
            <a:xfrm rot="433223">
              <a:off x="2772710" y="4426301"/>
              <a:ext cx="588493" cy="307777"/>
            </a:xfrm>
            <a:prstGeom prst="rect">
              <a:avLst/>
            </a:prstGeom>
            <a:noFill/>
          </p:spPr>
          <p:txBody>
            <a:bodyPr wrap="square" rtlCol="0">
              <a:spAutoFit/>
            </a:bodyPr>
            <a:lstStyle/>
            <a:p>
              <a:r>
                <a:rPr lang="de-DE">
                  <a:latin typeface="Sofia Sans" panose="020B0604020202020204" charset="0"/>
                </a:rPr>
                <a:t>Sand</a:t>
              </a:r>
              <a:endParaRPr lang="en-DE">
                <a:latin typeface="Sofia Sans" panose="020B0604020202020204" charset="0"/>
              </a:endParaRPr>
            </a:p>
          </p:txBody>
        </p:sp>
        <p:cxnSp>
          <p:nvCxnSpPr>
            <p:cNvPr id="18" name="Gerade Verbindung mit Pfeil 17">
              <a:extLst>
                <a:ext uri="{FF2B5EF4-FFF2-40B4-BE49-F238E27FC236}">
                  <a16:creationId xmlns:a16="http://schemas.microsoft.com/office/drawing/2014/main" id="{5A46879E-A395-2F32-3E1E-4646BF2E0FB2}"/>
                </a:ext>
              </a:extLst>
            </p:cNvPr>
            <p:cNvCxnSpPr/>
            <p:nvPr/>
          </p:nvCxnSpPr>
          <p:spPr>
            <a:xfrm>
              <a:off x="5899150" y="5267325"/>
              <a:ext cx="0" cy="2643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7EB90270-A424-02B9-0BDA-A04C5321BEBD}"/>
                </a:ext>
              </a:extLst>
            </p:cNvPr>
            <p:cNvGrpSpPr/>
            <p:nvPr/>
          </p:nvGrpSpPr>
          <p:grpSpPr>
            <a:xfrm>
              <a:off x="1424053" y="4196717"/>
              <a:ext cx="603476" cy="377179"/>
              <a:chOff x="1424053" y="4196717"/>
              <a:chExt cx="603476" cy="377179"/>
            </a:xfrm>
          </p:grpSpPr>
          <p:cxnSp>
            <p:nvCxnSpPr>
              <p:cNvPr id="20" name="Gerade Verbindung mit Pfeil 19">
                <a:extLst>
                  <a:ext uri="{FF2B5EF4-FFF2-40B4-BE49-F238E27FC236}">
                    <a16:creationId xmlns:a16="http://schemas.microsoft.com/office/drawing/2014/main" id="{4F5E97BE-33F5-5F4A-6A08-4E944D24FDEC}"/>
                  </a:ext>
                </a:extLst>
              </p:cNvPr>
              <p:cNvCxnSpPr>
                <a:cxnSpLocks/>
              </p:cNvCxnSpPr>
              <p:nvPr/>
            </p:nvCxnSpPr>
            <p:spPr>
              <a:xfrm flipH="1">
                <a:off x="1932496" y="4207183"/>
                <a:ext cx="50726" cy="3667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E623E4C0-797C-D9FE-53EB-5D87C0B163EC}"/>
                  </a:ext>
                </a:extLst>
              </p:cNvPr>
              <p:cNvSpPr txBox="1"/>
              <p:nvPr/>
            </p:nvSpPr>
            <p:spPr>
              <a:xfrm rot="497913">
                <a:off x="1424053" y="4196717"/>
                <a:ext cx="603476" cy="307777"/>
              </a:xfrm>
              <a:prstGeom prst="rect">
                <a:avLst/>
              </a:prstGeom>
              <a:noFill/>
            </p:spPr>
            <p:txBody>
              <a:bodyPr wrap="square" rtlCol="0">
                <a:spAutoFit/>
              </a:bodyPr>
              <a:lstStyle/>
              <a:p>
                <a:r>
                  <a:rPr lang="de-DE">
                    <a:latin typeface="Sofia Sans" panose="020B0604020202020204" charset="0"/>
                  </a:rPr>
                  <a:t>5 cm</a:t>
                </a:r>
                <a:endParaRPr lang="en-DE">
                  <a:latin typeface="Sofia Sans" panose="020B0604020202020204" charset="0"/>
                </a:endParaRPr>
              </a:p>
            </p:txBody>
          </p:sp>
        </p:grpSp>
        <p:grpSp>
          <p:nvGrpSpPr>
            <p:cNvPr id="25" name="Gruppieren 24">
              <a:extLst>
                <a:ext uri="{FF2B5EF4-FFF2-40B4-BE49-F238E27FC236}">
                  <a16:creationId xmlns:a16="http://schemas.microsoft.com/office/drawing/2014/main" id="{68C63FFA-670E-C5D5-C2F5-DB61E12185D1}"/>
                </a:ext>
              </a:extLst>
            </p:cNvPr>
            <p:cNvGrpSpPr/>
            <p:nvPr/>
          </p:nvGrpSpPr>
          <p:grpSpPr>
            <a:xfrm rot="21113276">
              <a:off x="1489506" y="4783422"/>
              <a:ext cx="616468" cy="366713"/>
              <a:chOff x="1497437" y="4622446"/>
              <a:chExt cx="616468" cy="366713"/>
            </a:xfrm>
          </p:grpSpPr>
          <p:cxnSp>
            <p:nvCxnSpPr>
              <p:cNvPr id="26" name="Gerade Verbindung mit Pfeil 25">
                <a:extLst>
                  <a:ext uri="{FF2B5EF4-FFF2-40B4-BE49-F238E27FC236}">
                    <a16:creationId xmlns:a16="http://schemas.microsoft.com/office/drawing/2014/main" id="{1B8FFDB9-8A92-B342-04B9-A46EE1FC8B29}"/>
                  </a:ext>
                </a:extLst>
              </p:cNvPr>
              <p:cNvCxnSpPr>
                <a:cxnSpLocks/>
              </p:cNvCxnSpPr>
              <p:nvPr/>
            </p:nvCxnSpPr>
            <p:spPr>
              <a:xfrm flipH="1">
                <a:off x="2063179" y="4622446"/>
                <a:ext cx="50726" cy="3667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8663EFD1-76CE-1C1C-1BCC-F6EFB9CAC28E}"/>
                  </a:ext>
                </a:extLst>
              </p:cNvPr>
              <p:cNvSpPr txBox="1"/>
              <p:nvPr/>
            </p:nvSpPr>
            <p:spPr>
              <a:xfrm rot="497913">
                <a:off x="1497437" y="4631153"/>
                <a:ext cx="603476" cy="307777"/>
              </a:xfrm>
              <a:prstGeom prst="rect">
                <a:avLst/>
              </a:prstGeom>
              <a:noFill/>
            </p:spPr>
            <p:txBody>
              <a:bodyPr wrap="square" rtlCol="0">
                <a:spAutoFit/>
              </a:bodyPr>
              <a:lstStyle/>
              <a:p>
                <a:r>
                  <a:rPr lang="de-DE">
                    <a:latin typeface="Sofia Sans" panose="020B0604020202020204" charset="0"/>
                  </a:rPr>
                  <a:t>5 cm</a:t>
                </a:r>
                <a:endParaRPr lang="en-DE">
                  <a:latin typeface="Sofia Sans" panose="020B0604020202020204" charset="0"/>
                </a:endParaRPr>
              </a:p>
            </p:txBody>
          </p:sp>
        </p:grpSp>
        <p:sp>
          <p:nvSpPr>
            <p:cNvPr id="29" name="Textfeld 28">
              <a:extLst>
                <a:ext uri="{FF2B5EF4-FFF2-40B4-BE49-F238E27FC236}">
                  <a16:creationId xmlns:a16="http://schemas.microsoft.com/office/drawing/2014/main" id="{4AB45786-191D-3EE0-C234-0D6E2C91AE3C}"/>
                </a:ext>
              </a:extLst>
            </p:cNvPr>
            <p:cNvSpPr txBox="1"/>
            <p:nvPr/>
          </p:nvSpPr>
          <p:spPr>
            <a:xfrm>
              <a:off x="5446647" y="5531644"/>
              <a:ext cx="1032006" cy="307777"/>
            </a:xfrm>
            <a:prstGeom prst="rect">
              <a:avLst/>
            </a:prstGeom>
            <a:noFill/>
          </p:spPr>
          <p:txBody>
            <a:bodyPr wrap="square" rtlCol="0">
              <a:spAutoFit/>
            </a:bodyPr>
            <a:lstStyle/>
            <a:p>
              <a:r>
                <a:rPr lang="de-DE">
                  <a:latin typeface="Sofia Sans" panose="020B0604020202020204" charset="0"/>
                </a:rPr>
                <a:t>Drain Hole</a:t>
              </a:r>
              <a:endParaRPr lang="en-DE">
                <a:latin typeface="Sofia Sans" panose="020B0604020202020204" charset="0"/>
              </a:endParaRPr>
            </a:p>
          </p:txBody>
        </p:sp>
        <p:pic>
          <p:nvPicPr>
            <p:cNvPr id="31" name="Grafik 30" descr="Ein Bild, das Screenshot, Grafiken, Grafikdesign, Clipart enthält.&#10;&#10;Automatisch generierte Beschreibung">
              <a:extLst>
                <a:ext uri="{FF2B5EF4-FFF2-40B4-BE49-F238E27FC236}">
                  <a16:creationId xmlns:a16="http://schemas.microsoft.com/office/drawing/2014/main" id="{9A9815E2-1C61-7228-58B5-DE216DD79292}"/>
                </a:ext>
              </a:extLst>
            </p:cNvPr>
            <p:cNvPicPr>
              <a:picLocks noChangeAspect="1"/>
            </p:cNvPicPr>
            <p:nvPr/>
          </p:nvPicPr>
          <p:blipFill>
            <a:blip r:embed="rId2"/>
            <a:stretch>
              <a:fillRect/>
            </a:stretch>
          </p:blipFill>
          <p:spPr>
            <a:xfrm rot="2834408">
              <a:off x="1050060" y="2362870"/>
              <a:ext cx="1007143" cy="1007143"/>
            </a:xfrm>
            <a:prstGeom prst="rect">
              <a:avLst/>
            </a:prstGeom>
          </p:spPr>
        </p:pic>
        <p:cxnSp>
          <p:nvCxnSpPr>
            <p:cNvPr id="34" name="Gerade Verbindung mit Pfeil 33">
              <a:extLst>
                <a:ext uri="{FF2B5EF4-FFF2-40B4-BE49-F238E27FC236}">
                  <a16:creationId xmlns:a16="http://schemas.microsoft.com/office/drawing/2014/main" id="{5ACF9A98-5E95-A550-89D0-89732AA740CD}"/>
                </a:ext>
              </a:extLst>
            </p:cNvPr>
            <p:cNvCxnSpPr>
              <a:cxnSpLocks/>
            </p:cNvCxnSpPr>
            <p:nvPr/>
          </p:nvCxnSpPr>
          <p:spPr>
            <a:xfrm flipH="1">
              <a:off x="2214518" y="3105150"/>
              <a:ext cx="61157" cy="5211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60E52761-C733-831D-FAE1-D7E02C1BC378}"/>
                </a:ext>
              </a:extLst>
            </p:cNvPr>
            <p:cNvSpPr txBox="1"/>
            <p:nvPr/>
          </p:nvSpPr>
          <p:spPr>
            <a:xfrm rot="497913">
              <a:off x="2217751" y="3256005"/>
              <a:ext cx="834994" cy="307777"/>
            </a:xfrm>
            <a:prstGeom prst="rect">
              <a:avLst/>
            </a:prstGeom>
            <a:noFill/>
          </p:spPr>
          <p:txBody>
            <a:bodyPr wrap="square" rtlCol="0">
              <a:spAutoFit/>
            </a:bodyPr>
            <a:lstStyle/>
            <a:p>
              <a:r>
                <a:rPr lang="de-DE">
                  <a:latin typeface="Sofia Sans" panose="020B0604020202020204" charset="0"/>
                </a:rPr>
                <a:t>10 cm</a:t>
              </a:r>
              <a:endParaRPr lang="en-DE">
                <a:latin typeface="Sofia Sans" panose="020B0604020202020204" charset="0"/>
              </a:endParaRPr>
            </a:p>
          </p:txBody>
        </p:sp>
        <p:sp>
          <p:nvSpPr>
            <p:cNvPr id="41" name="Flussdiagramm: Manuelle Verarbeitung 40">
              <a:extLst>
                <a:ext uri="{FF2B5EF4-FFF2-40B4-BE49-F238E27FC236}">
                  <a16:creationId xmlns:a16="http://schemas.microsoft.com/office/drawing/2014/main" id="{A44BFB78-1F17-D312-729F-68621B640F67}"/>
                </a:ext>
              </a:extLst>
            </p:cNvPr>
            <p:cNvSpPr/>
            <p:nvPr/>
          </p:nvSpPr>
          <p:spPr>
            <a:xfrm>
              <a:off x="5384799" y="5905903"/>
              <a:ext cx="1171575" cy="1145559"/>
            </a:xfrm>
            <a:prstGeom prst="flowChartManualOperation">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43" name="Titel 1">
            <a:extLst>
              <a:ext uri="{FF2B5EF4-FFF2-40B4-BE49-F238E27FC236}">
                <a16:creationId xmlns:a16="http://schemas.microsoft.com/office/drawing/2014/main" id="{65C7FD04-639D-0B91-C5A6-60365C348DFA}"/>
              </a:ext>
            </a:extLst>
          </p:cNvPr>
          <p:cNvSpPr>
            <a:spLocks noGrp="1"/>
          </p:cNvSpPr>
          <p:nvPr>
            <p:ph type="title"/>
          </p:nvPr>
        </p:nvSpPr>
        <p:spPr>
          <a:xfrm>
            <a:off x="719138" y="1277938"/>
            <a:ext cx="6380336" cy="809226"/>
          </a:xfrm>
        </p:spPr>
        <p:txBody>
          <a:bodyPr/>
          <a:lstStyle/>
          <a:p>
            <a:r>
              <a:rPr lang="de-DE" sz="2400"/>
              <a:t>Environmental Impacts Game: Initial Setup</a:t>
            </a:r>
          </a:p>
        </p:txBody>
      </p:sp>
    </p:spTree>
    <p:extLst>
      <p:ext uri="{BB962C8B-B14F-4D97-AF65-F5344CB8AC3E}">
        <p14:creationId xmlns:p14="http://schemas.microsoft.com/office/powerpoint/2010/main" val="16874394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523E5-CC9D-E74D-20EF-142101EA8253}"/>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5806255-5CFC-C38D-EA85-D56B2236E642}"/>
              </a:ext>
            </a:extLst>
          </p:cNvPr>
          <p:cNvSpPr>
            <a:spLocks noGrp="1"/>
          </p:cNvSpPr>
          <p:nvPr>
            <p:ph type="sldNum" sz="quarter" idx="16"/>
          </p:nvPr>
        </p:nvSpPr>
        <p:spPr/>
        <p:txBody>
          <a:bodyPr/>
          <a:lstStyle/>
          <a:p>
            <a:fld id="{DF7F771E-9578-4C04-B869-01AF4C35C90C}" type="slidenum">
              <a:rPr lang="de-DE" smtClean="0"/>
              <a:t>32</a:t>
            </a:fld>
            <a:endParaRPr lang="de-DE"/>
          </a:p>
        </p:txBody>
      </p:sp>
      <p:pic>
        <p:nvPicPr>
          <p:cNvPr id="23" name="Grafik 22" descr="Skizze mit einfarbiger Füllung">
            <a:extLst>
              <a:ext uri="{FF2B5EF4-FFF2-40B4-BE49-F238E27FC236}">
                <a16:creationId xmlns:a16="http://schemas.microsoft.com/office/drawing/2014/main" id="{A2DFD5EB-B806-B21D-7BB6-9B9F02714C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616" y="3244694"/>
            <a:ext cx="379044" cy="379044"/>
          </a:xfrm>
          <a:prstGeom prst="rect">
            <a:avLst/>
          </a:prstGeom>
        </p:spPr>
      </p:pic>
      <p:grpSp>
        <p:nvGrpSpPr>
          <p:cNvPr id="6" name="Gruppieren 5">
            <a:extLst>
              <a:ext uri="{FF2B5EF4-FFF2-40B4-BE49-F238E27FC236}">
                <a16:creationId xmlns:a16="http://schemas.microsoft.com/office/drawing/2014/main" id="{29D93595-98E3-F2CB-57E2-108116461A23}"/>
              </a:ext>
            </a:extLst>
          </p:cNvPr>
          <p:cNvGrpSpPr/>
          <p:nvPr/>
        </p:nvGrpSpPr>
        <p:grpSpPr>
          <a:xfrm>
            <a:off x="719138" y="1277938"/>
            <a:ext cx="1531017" cy="962855"/>
            <a:chOff x="1018659" y="572586"/>
            <a:chExt cx="1531017" cy="962855"/>
          </a:xfrm>
        </p:grpSpPr>
        <p:grpSp>
          <p:nvGrpSpPr>
            <p:cNvPr id="17" name="Gruppieren 16">
              <a:extLst>
                <a:ext uri="{FF2B5EF4-FFF2-40B4-BE49-F238E27FC236}">
                  <a16:creationId xmlns:a16="http://schemas.microsoft.com/office/drawing/2014/main" id="{1D255B1C-674B-2515-0BCE-484681C0C0DC}"/>
                </a:ext>
              </a:extLst>
            </p:cNvPr>
            <p:cNvGrpSpPr/>
            <p:nvPr/>
          </p:nvGrpSpPr>
          <p:grpSpPr>
            <a:xfrm>
              <a:off x="1018659" y="572586"/>
              <a:ext cx="1531017" cy="480127"/>
              <a:chOff x="4082862" y="2938441"/>
              <a:chExt cx="1531017" cy="480127"/>
            </a:xfrm>
          </p:grpSpPr>
          <p:sp>
            <p:nvSpPr>
              <p:cNvPr id="3" name="Untertitel 5">
                <a:extLst>
                  <a:ext uri="{FF2B5EF4-FFF2-40B4-BE49-F238E27FC236}">
                    <a16:creationId xmlns:a16="http://schemas.microsoft.com/office/drawing/2014/main" id="{0B44A470-46ED-6394-3E99-B8AA8DCAA90A}"/>
                  </a:ext>
                </a:extLst>
              </p:cNvPr>
              <p:cNvSpPr txBox="1">
                <a:spLocks/>
              </p:cNvSpPr>
              <p:nvPr/>
            </p:nvSpPr>
            <p:spPr>
              <a:xfrm>
                <a:off x="4415237" y="2939289"/>
                <a:ext cx="1198642"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grpSp>
            <p:nvGrpSpPr>
              <p:cNvPr id="9" name="Gruppieren 8">
                <a:extLst>
                  <a:ext uri="{FF2B5EF4-FFF2-40B4-BE49-F238E27FC236}">
                    <a16:creationId xmlns:a16="http://schemas.microsoft.com/office/drawing/2014/main" id="{BB48D6F4-484E-08A9-25A2-CE8B4011198D}"/>
                  </a:ext>
                </a:extLst>
              </p:cNvPr>
              <p:cNvGrpSpPr/>
              <p:nvPr/>
            </p:nvGrpSpPr>
            <p:grpSpPr>
              <a:xfrm>
                <a:off x="4082862" y="2938441"/>
                <a:ext cx="480127" cy="480127"/>
                <a:chOff x="717779" y="2735841"/>
                <a:chExt cx="480127" cy="480127"/>
              </a:xfrm>
            </p:grpSpPr>
            <p:sp>
              <p:nvSpPr>
                <p:cNvPr id="11" name="Ellipse 21">
                  <a:extLst>
                    <a:ext uri="{FF2B5EF4-FFF2-40B4-BE49-F238E27FC236}">
                      <a16:creationId xmlns:a16="http://schemas.microsoft.com/office/drawing/2014/main" id="{3FA8993C-77E3-70C8-267C-B36C10757944}"/>
                    </a:ext>
                  </a:extLst>
                </p:cNvPr>
                <p:cNvSpPr>
                  <a:spLocks noChangeAspect="1"/>
                </p:cNvSpPr>
                <p:nvPr/>
              </p:nvSpPr>
              <p:spPr>
                <a:xfrm>
                  <a:off x="717779" y="2735841"/>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22" descr="Skizze mit einfarbiger Füllung">
                  <a:extLst>
                    <a:ext uri="{FF2B5EF4-FFF2-40B4-BE49-F238E27FC236}">
                      <a16:creationId xmlns:a16="http://schemas.microsoft.com/office/drawing/2014/main" id="{E0148E6C-2E00-F712-E87D-3F1EE03713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2799573"/>
                  <a:ext cx="379044" cy="379044"/>
                </a:xfrm>
                <a:prstGeom prst="rect">
                  <a:avLst/>
                </a:prstGeom>
              </p:spPr>
            </p:pic>
          </p:grpSp>
        </p:grpSp>
        <p:sp>
          <p:nvSpPr>
            <p:cNvPr id="2" name="Untertitel 5">
              <a:extLst>
                <a:ext uri="{FF2B5EF4-FFF2-40B4-BE49-F238E27FC236}">
                  <a16:creationId xmlns:a16="http://schemas.microsoft.com/office/drawing/2014/main" id="{C589E0A9-5BB2-2FC2-704C-A8FD712F7D5E}"/>
                </a:ext>
              </a:extLst>
            </p:cNvPr>
            <p:cNvSpPr txBox="1">
              <a:spLocks/>
            </p:cNvSpPr>
            <p:nvPr/>
          </p:nvSpPr>
          <p:spPr>
            <a:xfrm>
              <a:off x="1018659" y="1116800"/>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grpSp>
      <p:sp>
        <p:nvSpPr>
          <p:cNvPr id="5" name="Untertitel 3">
            <a:extLst>
              <a:ext uri="{FF2B5EF4-FFF2-40B4-BE49-F238E27FC236}">
                <a16:creationId xmlns:a16="http://schemas.microsoft.com/office/drawing/2014/main" id="{BE6667B3-7152-ABEF-201F-4894F7266114}"/>
              </a:ext>
            </a:extLst>
          </p:cNvPr>
          <p:cNvSpPr txBox="1">
            <a:spLocks/>
          </p:cNvSpPr>
          <p:nvPr/>
        </p:nvSpPr>
        <p:spPr>
          <a:xfrm>
            <a:off x="763615" y="2193970"/>
            <a:ext cx="5708607" cy="276577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u="sng"/>
              <a:t>How does water change land?</a:t>
            </a:r>
          </a:p>
          <a:p>
            <a:pPr marL="139700" indent="0"/>
            <a:endParaRPr lang="en-US" sz="1200">
              <a:latin typeface="Sofia Sans" panose="020B0604020202020204" charset="0"/>
            </a:endParaRPr>
          </a:p>
          <a:p>
            <a:pPr marL="139700" indent="0"/>
            <a:r>
              <a:rPr lang="en-US" sz="1200"/>
              <a:t>Follow these steps to conduct </a:t>
            </a:r>
            <a:r>
              <a:rPr lang="en-US" sz="1200" b="1"/>
              <a:t>Task 1</a:t>
            </a:r>
          </a:p>
          <a:p>
            <a:pPr marL="139700" indent="0"/>
            <a:endParaRPr lang="en-US" sz="1200">
              <a:latin typeface="Sofia Sans" panose="020B0604020202020204" charset="0"/>
            </a:endParaRPr>
          </a:p>
          <a:p>
            <a:pPr marL="482600" indent="-342900">
              <a:lnSpc>
                <a:spcPct val="150000"/>
              </a:lnSpc>
              <a:buClr>
                <a:schemeClr val="accent5"/>
              </a:buClr>
              <a:buSzPct val="121000"/>
              <a:buFont typeface="+mj-lt"/>
              <a:buAutoNum type="arabicPeriod"/>
            </a:pPr>
            <a:r>
              <a:rPr lang="en-US" sz="1200" b="0"/>
              <a:t>Place books underneath the </a:t>
            </a:r>
            <a:r>
              <a:rPr lang="en-US" sz="1200"/>
              <a:t>box</a:t>
            </a:r>
            <a:r>
              <a:rPr lang="en-US" sz="1200" b="0"/>
              <a:t>, such that it raises the end of </a:t>
            </a:r>
            <a:r>
              <a:rPr lang="en-US" sz="1200"/>
              <a:t>it for at least 5cm</a:t>
            </a:r>
            <a:r>
              <a:rPr lang="en-US" sz="1200" b="0"/>
              <a:t>. (make sure it’s not wobbling!)</a:t>
            </a:r>
          </a:p>
          <a:p>
            <a:pPr marL="482600" indent="-342900">
              <a:lnSpc>
                <a:spcPct val="150000"/>
              </a:lnSpc>
              <a:buClr>
                <a:schemeClr val="accent5"/>
              </a:buClr>
              <a:buSzPct val="121000"/>
              <a:buFont typeface="+mj-lt"/>
              <a:buAutoNum type="arabicPeriod"/>
            </a:pPr>
            <a:r>
              <a:rPr lang="en-US" sz="1200" b="0"/>
              <a:t>Hold the beaker 10 centimeters above the sand and </a:t>
            </a:r>
            <a:r>
              <a:rPr lang="en-US" sz="1200"/>
              <a:t>pour</a:t>
            </a:r>
            <a:r>
              <a:rPr lang="en-US" sz="1200" b="0"/>
              <a:t> it onto the end in a slow, steady stream.</a:t>
            </a:r>
          </a:p>
          <a:p>
            <a:pPr marL="482600" indent="-342900">
              <a:lnSpc>
                <a:spcPct val="150000"/>
              </a:lnSpc>
              <a:buClr>
                <a:schemeClr val="accent5"/>
              </a:buClr>
              <a:buSzPct val="121000"/>
              <a:buFont typeface="+mj-lt"/>
              <a:buAutoNum type="arabicPeriod"/>
            </a:pPr>
            <a:r>
              <a:rPr lang="en-US" sz="1200" b="0"/>
              <a:t>Record your observations below.</a:t>
            </a:r>
          </a:p>
          <a:p>
            <a:pPr marL="482600" indent="-342900">
              <a:buFont typeface="+mj-lt"/>
              <a:buAutoNum type="arabicPeriod"/>
            </a:pPr>
            <a:endParaRPr lang="en-US" sz="1200">
              <a:latin typeface="Sofia Sans" panose="020B0604020202020204" charset="0"/>
            </a:endParaRPr>
          </a:p>
          <a:p>
            <a:pPr marL="139700" indent="0">
              <a:lnSpc>
                <a:spcPct val="114999"/>
              </a:lnSpc>
            </a:pPr>
            <a:r>
              <a:rPr lang="en-US" sz="1200" b="1">
                <a:solidFill>
                  <a:schemeClr val="tx1"/>
                </a:solidFill>
              </a:rPr>
              <a:t>Draw top-view pictures of the sand before and after pouring water on it.</a:t>
            </a:r>
          </a:p>
          <a:p>
            <a:pPr marL="139700" indent="0"/>
            <a:endParaRPr lang="en-US" sz="1200">
              <a:latin typeface="Sofia Sans" panose="020B0604020202020204" charset="0"/>
            </a:endParaRPr>
          </a:p>
        </p:txBody>
      </p:sp>
      <p:grpSp>
        <p:nvGrpSpPr>
          <p:cNvPr id="16" name="Gruppieren 15">
            <a:extLst>
              <a:ext uri="{FF2B5EF4-FFF2-40B4-BE49-F238E27FC236}">
                <a16:creationId xmlns:a16="http://schemas.microsoft.com/office/drawing/2014/main" id="{D99D2D5A-9FA4-0B3A-9DE7-E318AA1472FB}"/>
              </a:ext>
            </a:extLst>
          </p:cNvPr>
          <p:cNvGrpSpPr/>
          <p:nvPr/>
        </p:nvGrpSpPr>
        <p:grpSpPr>
          <a:xfrm>
            <a:off x="854812" y="5284804"/>
            <a:ext cx="5850051" cy="4214793"/>
            <a:chOff x="854812" y="4783940"/>
            <a:chExt cx="5850051" cy="4214793"/>
          </a:xfrm>
        </p:grpSpPr>
        <p:sp>
          <p:nvSpPr>
            <p:cNvPr id="7" name="Textfeld 11">
              <a:extLst>
                <a:ext uri="{FF2B5EF4-FFF2-40B4-BE49-F238E27FC236}">
                  <a16:creationId xmlns:a16="http://schemas.microsoft.com/office/drawing/2014/main" id="{D1B9E3C1-DE52-F2F5-2548-748170ABC028}"/>
                </a:ext>
              </a:extLst>
            </p:cNvPr>
            <p:cNvSpPr txBox="1"/>
            <p:nvPr/>
          </p:nvSpPr>
          <p:spPr>
            <a:xfrm>
              <a:off x="854812" y="5201414"/>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sp>
          <p:nvSpPr>
            <p:cNvPr id="10" name="Untertitel 3">
              <a:extLst>
                <a:ext uri="{FF2B5EF4-FFF2-40B4-BE49-F238E27FC236}">
                  <a16:creationId xmlns:a16="http://schemas.microsoft.com/office/drawing/2014/main" id="{8EC611A0-9C68-D698-1A82-5206DCFCC737}"/>
                </a:ext>
              </a:extLst>
            </p:cNvPr>
            <p:cNvSpPr txBox="1">
              <a:spLocks/>
            </p:cNvSpPr>
            <p:nvPr/>
          </p:nvSpPr>
          <p:spPr>
            <a:xfrm>
              <a:off x="4615671" y="4783940"/>
              <a:ext cx="1568243"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After Water</a:t>
              </a:r>
            </a:p>
          </p:txBody>
        </p:sp>
        <p:sp>
          <p:nvSpPr>
            <p:cNvPr id="14" name="Untertitel 3">
              <a:extLst>
                <a:ext uri="{FF2B5EF4-FFF2-40B4-BE49-F238E27FC236}">
                  <a16:creationId xmlns:a16="http://schemas.microsoft.com/office/drawing/2014/main" id="{0755D1AF-CE5F-6719-E27D-ACCA06E7CD67}"/>
                </a:ext>
              </a:extLst>
            </p:cNvPr>
            <p:cNvSpPr txBox="1">
              <a:spLocks/>
            </p:cNvSpPr>
            <p:nvPr/>
          </p:nvSpPr>
          <p:spPr>
            <a:xfrm>
              <a:off x="1509292" y="4783941"/>
              <a:ext cx="1816613"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Before Water</a:t>
              </a:r>
            </a:p>
          </p:txBody>
        </p:sp>
        <p:sp>
          <p:nvSpPr>
            <p:cNvPr id="13" name="Textfeld 11">
              <a:extLst>
                <a:ext uri="{FF2B5EF4-FFF2-40B4-BE49-F238E27FC236}">
                  <a16:creationId xmlns:a16="http://schemas.microsoft.com/office/drawing/2014/main" id="{AD6647CD-42E7-C850-7981-80ADF504CB71}"/>
                </a:ext>
              </a:extLst>
            </p:cNvPr>
            <p:cNvSpPr txBox="1"/>
            <p:nvPr/>
          </p:nvSpPr>
          <p:spPr>
            <a:xfrm>
              <a:off x="3909695" y="5201413"/>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grpSp>
      <p:pic>
        <p:nvPicPr>
          <p:cNvPr id="8" name="Grafik 7" descr="Ein Bild, das Entwurf, Rechteck enthält.&#10;&#10;KI-generierte Inhalte können fehlerhaft sein.">
            <a:extLst>
              <a:ext uri="{FF2B5EF4-FFF2-40B4-BE49-F238E27FC236}">
                <a16:creationId xmlns:a16="http://schemas.microsoft.com/office/drawing/2014/main" id="{AE7BCC38-08C0-775C-9198-BD20E20F9DE2}"/>
              </a:ext>
            </a:extLst>
          </p:cNvPr>
          <p:cNvPicPr>
            <a:picLocks noChangeAspect="1"/>
          </p:cNvPicPr>
          <p:nvPr/>
        </p:nvPicPr>
        <p:blipFill>
          <a:blip r:embed="rId4"/>
          <a:stretch>
            <a:fillRect/>
          </a:stretch>
        </p:blipFill>
        <p:spPr>
          <a:xfrm>
            <a:off x="956304" y="6012427"/>
            <a:ext cx="2496019" cy="3052396"/>
          </a:xfrm>
          <a:prstGeom prst="rect">
            <a:avLst/>
          </a:prstGeom>
        </p:spPr>
      </p:pic>
      <p:pic>
        <p:nvPicPr>
          <p:cNvPr id="12" name="Grafik 11" descr="Ein Bild, das Entwurf, Zeichnung, Kunst enthält.&#10;&#10;KI-generierte Inhalte können fehlerhaft sein.">
            <a:extLst>
              <a:ext uri="{FF2B5EF4-FFF2-40B4-BE49-F238E27FC236}">
                <a16:creationId xmlns:a16="http://schemas.microsoft.com/office/drawing/2014/main" id="{11CDE100-29A7-DC80-C30C-2E03498F3C9F}"/>
              </a:ext>
            </a:extLst>
          </p:cNvPr>
          <p:cNvPicPr>
            <a:picLocks noChangeAspect="1"/>
          </p:cNvPicPr>
          <p:nvPr/>
        </p:nvPicPr>
        <p:blipFill>
          <a:blip r:embed="rId5"/>
          <a:stretch>
            <a:fillRect/>
          </a:stretch>
        </p:blipFill>
        <p:spPr>
          <a:xfrm>
            <a:off x="4031924" y="6084009"/>
            <a:ext cx="2661149" cy="2903832"/>
          </a:xfrm>
          <a:prstGeom prst="rect">
            <a:avLst/>
          </a:prstGeom>
        </p:spPr>
      </p:pic>
    </p:spTree>
    <p:extLst>
      <p:ext uri="{BB962C8B-B14F-4D97-AF65-F5344CB8AC3E}">
        <p14:creationId xmlns:p14="http://schemas.microsoft.com/office/powerpoint/2010/main" val="42249125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803AE-E5C1-6558-CB4B-224AE8B57591}"/>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5B66E53E-D1F1-3577-0AC7-1277C13B4C9F}"/>
              </a:ext>
            </a:extLst>
          </p:cNvPr>
          <p:cNvSpPr>
            <a:spLocks noGrp="1"/>
          </p:cNvSpPr>
          <p:nvPr>
            <p:ph type="sldNum" sz="quarter" idx="4"/>
          </p:nvPr>
        </p:nvSpPr>
        <p:spPr/>
        <p:txBody>
          <a:bodyPr/>
          <a:lstStyle/>
          <a:p>
            <a:fld id="{DF7F771E-9578-4C04-B869-01AF4C35C90C}" type="slidenum">
              <a:rPr lang="de-DE" smtClean="0"/>
              <a:t>33</a:t>
            </a:fld>
            <a:endParaRPr lang="de-DE"/>
          </a:p>
        </p:txBody>
      </p:sp>
      <p:sp>
        <p:nvSpPr>
          <p:cNvPr id="3" name="Untertitel 5">
            <a:extLst>
              <a:ext uri="{FF2B5EF4-FFF2-40B4-BE49-F238E27FC236}">
                <a16:creationId xmlns:a16="http://schemas.microsoft.com/office/drawing/2014/main" id="{AB2B13D0-5ADE-7034-D43D-E1807DF989FC}"/>
              </a:ext>
            </a:extLst>
          </p:cNvPr>
          <p:cNvSpPr txBox="1">
            <a:spLocks/>
          </p:cNvSpPr>
          <p:nvPr/>
        </p:nvSpPr>
        <p:spPr>
          <a:xfrm>
            <a:off x="738593" y="6004131"/>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4" name="Untertitel 3">
            <a:extLst>
              <a:ext uri="{FF2B5EF4-FFF2-40B4-BE49-F238E27FC236}">
                <a16:creationId xmlns:a16="http://schemas.microsoft.com/office/drawing/2014/main" id="{0E43BA9E-BBF2-85E7-DF88-899EA97D0D14}"/>
              </a:ext>
            </a:extLst>
          </p:cNvPr>
          <p:cNvSpPr txBox="1">
            <a:spLocks/>
          </p:cNvSpPr>
          <p:nvPr/>
        </p:nvSpPr>
        <p:spPr>
          <a:xfrm>
            <a:off x="719138" y="6407481"/>
            <a:ext cx="5972242" cy="33881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u="sng"/>
              <a:t>Water Obstruction</a:t>
            </a:r>
          </a:p>
          <a:p>
            <a:pPr marL="139700" indent="0"/>
            <a:endParaRPr lang="en-US" sz="1200" u="sng"/>
          </a:p>
          <a:p>
            <a:pPr marL="139700" indent="0"/>
            <a:r>
              <a:rPr lang="en-US" sz="1200"/>
              <a:t>Follow these steps to conduct </a:t>
            </a:r>
            <a:r>
              <a:rPr lang="en-US" sz="1200" b="1"/>
              <a:t>Task 2</a:t>
            </a:r>
          </a:p>
          <a:p>
            <a:pPr marL="139700" indent="0"/>
            <a:endParaRPr lang="en-US" sz="1200"/>
          </a:p>
          <a:p>
            <a:pPr marL="482600" indent="-342900">
              <a:lnSpc>
                <a:spcPct val="150000"/>
              </a:lnSpc>
              <a:buClr>
                <a:schemeClr val="accent5"/>
              </a:buClr>
              <a:buSzPct val="121000"/>
              <a:buFont typeface="+mj-lt"/>
              <a:buAutoNum type="arabicPeriod"/>
            </a:pPr>
            <a:r>
              <a:rPr lang="en-US" sz="1200"/>
              <a:t>Prepare the box as described on </a:t>
            </a:r>
            <a:r>
              <a:rPr lang="en-US" sz="1200" b="1"/>
              <a:t>page 30.</a:t>
            </a:r>
          </a:p>
          <a:p>
            <a:pPr marL="482600" indent="-342900">
              <a:lnSpc>
                <a:spcPct val="150000"/>
              </a:lnSpc>
              <a:buClr>
                <a:schemeClr val="accent5"/>
              </a:buClr>
              <a:buSzPct val="121000"/>
              <a:buFont typeface="+mj-lt"/>
              <a:buAutoNum type="arabicPeriod"/>
            </a:pPr>
            <a:r>
              <a:rPr lang="en-US" sz="1200"/>
              <a:t>Insert one ruler into the sand near the middle on the right side and another ruler on the left side of the pan.</a:t>
            </a:r>
          </a:p>
          <a:p>
            <a:pPr marL="482600" indent="-342900">
              <a:lnSpc>
                <a:spcPct val="150000"/>
              </a:lnSpc>
              <a:buClr>
                <a:schemeClr val="accent5"/>
              </a:buClr>
              <a:buSzPct val="121000"/>
              <a:buFont typeface="+mj-lt"/>
              <a:buAutoNum type="arabicPeriod"/>
            </a:pPr>
            <a:r>
              <a:rPr lang="en-US" sz="1200"/>
              <a:t>Elevate the end of the box containing the sand to create an incline.</a:t>
            </a:r>
          </a:p>
          <a:p>
            <a:pPr marL="482600" indent="-342900">
              <a:lnSpc>
                <a:spcPct val="150000"/>
              </a:lnSpc>
              <a:buClr>
                <a:schemeClr val="accent5"/>
              </a:buClr>
              <a:buSzPct val="121000"/>
              <a:buFont typeface="+mj-lt"/>
              <a:buAutoNum type="arabicPeriod"/>
            </a:pPr>
            <a:r>
              <a:rPr lang="en-US" sz="1200"/>
              <a:t>Hold the beaker 10 centimeters above the sand. Slowly and steadily pour the water onto the raised end of the pan.</a:t>
            </a:r>
          </a:p>
          <a:p>
            <a:pPr marL="482600" indent="-342900">
              <a:lnSpc>
                <a:spcPct val="150000"/>
              </a:lnSpc>
              <a:buClr>
                <a:schemeClr val="accent5"/>
              </a:buClr>
              <a:buSzPct val="121000"/>
              <a:buFont typeface="+mj-lt"/>
              <a:buAutoNum type="arabicPeriod"/>
            </a:pPr>
            <a:r>
              <a:rPr lang="en-US" sz="1200"/>
              <a:t>Record your observations in the space provided on the next page.</a:t>
            </a:r>
          </a:p>
          <a:p>
            <a:pPr marL="139700" indent="0"/>
            <a:endParaRPr lang="en-US" sz="1200">
              <a:latin typeface="Sofia Sans" panose="020B0604020202020204" charset="0"/>
            </a:endParaRPr>
          </a:p>
          <a:p>
            <a:pPr marL="139700" indent="0">
              <a:lnSpc>
                <a:spcPct val="114999"/>
              </a:lnSpc>
            </a:pPr>
            <a:r>
              <a:rPr lang="en-US" sz="1200" b="1">
                <a:solidFill>
                  <a:schemeClr val="tx1"/>
                </a:solidFill>
              </a:rPr>
              <a:t>Draw top-view pictures of the sand before and after pouring water on it.</a:t>
            </a:r>
          </a:p>
          <a:p>
            <a:pPr marL="139700" indent="0"/>
            <a:endParaRPr lang="en-US" sz="1200">
              <a:latin typeface="Sofia Sans" panose="020B0604020202020204" charset="0"/>
            </a:endParaRPr>
          </a:p>
        </p:txBody>
      </p:sp>
      <p:sp>
        <p:nvSpPr>
          <p:cNvPr id="9" name="Untertitel 3">
            <a:extLst>
              <a:ext uri="{FF2B5EF4-FFF2-40B4-BE49-F238E27FC236}">
                <a16:creationId xmlns:a16="http://schemas.microsoft.com/office/drawing/2014/main" id="{A0B94D24-C998-BCB6-88E7-C35F409B383B}"/>
              </a:ext>
            </a:extLst>
          </p:cNvPr>
          <p:cNvSpPr txBox="1">
            <a:spLocks/>
          </p:cNvSpPr>
          <p:nvPr/>
        </p:nvSpPr>
        <p:spPr>
          <a:xfrm>
            <a:off x="738594" y="1287666"/>
            <a:ext cx="5952786" cy="7574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Explain how the water’s movement affected the sand in your experiment. What changes did you notice, and what might these represent in a real-world environment?</a:t>
            </a:r>
            <a:endParaRPr lang="en-US" sz="1200" b="1"/>
          </a:p>
        </p:txBody>
      </p:sp>
      <p:sp>
        <p:nvSpPr>
          <p:cNvPr id="10" name="Textfeld 11">
            <a:extLst>
              <a:ext uri="{FF2B5EF4-FFF2-40B4-BE49-F238E27FC236}">
                <a16:creationId xmlns:a16="http://schemas.microsoft.com/office/drawing/2014/main" id="{CBECBC0B-CA27-86DA-5D2B-822D91C83D6E}"/>
              </a:ext>
            </a:extLst>
          </p:cNvPr>
          <p:cNvSpPr txBox="1"/>
          <p:nvPr/>
        </p:nvSpPr>
        <p:spPr>
          <a:xfrm>
            <a:off x="903451" y="2212616"/>
            <a:ext cx="5850051" cy="3623980"/>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800"/>
              </a:spcAft>
            </a:pPr>
            <a:r>
              <a:rPr lang="en-DE" sz="1200" b="1" kern="100">
                <a:solidFill>
                  <a:srgbClr val="FF0000"/>
                </a:solidFill>
                <a:effectLst/>
                <a:latin typeface="Sofia Sans" panose="020B0604020202020204" charset="0"/>
                <a:ea typeface="Aptos" panose="020B0004020202020204" pitchFamily="34" charset="0"/>
                <a:cs typeface="Times New Roman" panose="02020603050405020304" pitchFamily="18" charset="0"/>
              </a:rPr>
              <a:t>Observation of Water Flow:</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lvl="0">
              <a:lnSpc>
                <a:spcPct val="115000"/>
              </a:lnSpc>
              <a:spcAft>
                <a:spcPts val="800"/>
              </a:spcAft>
              <a:buSzPts val="1000"/>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Water created small channels and grooves in the sand.</a:t>
            </a:r>
          </a:p>
          <a:p>
            <a:pPr lvl="0">
              <a:lnSpc>
                <a:spcPct val="115000"/>
              </a:lnSpc>
              <a:spcAft>
                <a:spcPts val="800"/>
              </a:spcAft>
              <a:buSzPts val="1000"/>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The sand at the top of the slope was eroded as the water flowed down.</a:t>
            </a:r>
            <a:endParaRPr lang="de-DE"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lvl="0" indent="-342900">
              <a:lnSpc>
                <a:spcPct val="115000"/>
              </a:lnSpc>
              <a:spcAft>
                <a:spcPts val="800"/>
              </a:spcAft>
              <a:buSzPts val="1000"/>
              <a:buFont typeface="Symbol" panose="05050102010706020507" pitchFamily="18" charset="2"/>
              <a:buChar char=""/>
              <a:tabLst>
                <a:tab pos="4572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a:lnSpc>
                <a:spcPct val="115000"/>
              </a:lnSpc>
              <a:spcAft>
                <a:spcPts val="800"/>
              </a:spcAft>
            </a:pPr>
            <a:r>
              <a:rPr lang="en-DE" sz="1200" b="1" kern="100">
                <a:solidFill>
                  <a:srgbClr val="FF0000"/>
                </a:solidFill>
                <a:effectLst/>
                <a:latin typeface="Sofia Sans" panose="020B0604020202020204" charset="0"/>
                <a:ea typeface="Aptos" panose="020B0004020202020204" pitchFamily="34" charset="0"/>
                <a:cs typeface="Times New Roman" panose="02020603050405020304" pitchFamily="18" charset="0"/>
              </a:rPr>
              <a:t>Sediment Movement:</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lvl="0">
              <a:lnSpc>
                <a:spcPct val="115000"/>
              </a:lnSpc>
              <a:spcAft>
                <a:spcPts val="800"/>
              </a:spcAft>
              <a:buSzPts val="1000"/>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Sand was carried downward, forming a pile or small delta near the drain hole.</a:t>
            </a:r>
            <a:endParaRPr lang="de-DE"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lvl="0" indent="-342900">
              <a:lnSpc>
                <a:spcPct val="115000"/>
              </a:lnSpc>
              <a:spcAft>
                <a:spcPts val="800"/>
              </a:spcAft>
              <a:buSzPts val="1000"/>
              <a:buFont typeface="Symbol" panose="05050102010706020507" pitchFamily="18" charset="2"/>
              <a:buChar char=""/>
              <a:tabLst>
                <a:tab pos="4572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a:lnSpc>
                <a:spcPct val="115000"/>
              </a:lnSpc>
              <a:spcAft>
                <a:spcPts val="800"/>
              </a:spcAft>
            </a:pPr>
            <a:r>
              <a:rPr lang="en-DE" sz="1200" b="1" kern="100">
                <a:solidFill>
                  <a:srgbClr val="FF0000"/>
                </a:solidFill>
                <a:effectLst/>
                <a:latin typeface="Sofia Sans" panose="020B0604020202020204" charset="0"/>
                <a:ea typeface="Aptos" panose="020B0004020202020204" pitchFamily="34" charset="0"/>
                <a:cs typeface="Times New Roman" panose="02020603050405020304" pitchFamily="18" charset="0"/>
              </a:rPr>
              <a:t>Conclusion:</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lvl="0">
              <a:lnSpc>
                <a:spcPct val="115000"/>
              </a:lnSpc>
              <a:spcAft>
                <a:spcPts val="800"/>
              </a:spcAft>
              <a:buSzPts val="1000"/>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The experiment shows how water erodes higher land and deposits sediment in lower areas, changing the shape of the land over time.</a:t>
            </a:r>
          </a:p>
          <a:p>
            <a:endParaRPr lang="en-US" sz="1200" dirty="0">
              <a:solidFill>
                <a:srgbClr val="FF0000"/>
              </a:solidFill>
              <a:effectLst/>
              <a:latin typeface="Sofia Sans" panose="020B0604020202020204" charset="0"/>
              <a:ea typeface="Times New Roman" panose="02020603050405020304" pitchFamily="18" charset="0"/>
            </a:endParaRPr>
          </a:p>
        </p:txBody>
      </p:sp>
    </p:spTree>
    <p:extLst>
      <p:ext uri="{BB962C8B-B14F-4D97-AF65-F5344CB8AC3E}">
        <p14:creationId xmlns:p14="http://schemas.microsoft.com/office/powerpoint/2010/main" val="14958065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9C087-7BF1-92D0-753E-98E4B6D2FB91}"/>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6F18735-B6FB-0FE1-FE1A-C0AF7BBE2742}"/>
              </a:ext>
            </a:extLst>
          </p:cNvPr>
          <p:cNvSpPr>
            <a:spLocks noGrp="1"/>
          </p:cNvSpPr>
          <p:nvPr>
            <p:ph type="sldNum" sz="quarter" idx="10"/>
          </p:nvPr>
        </p:nvSpPr>
        <p:spPr/>
        <p:txBody>
          <a:bodyPr/>
          <a:lstStyle/>
          <a:p>
            <a:fld id="{DF7F771E-9578-4C04-B869-01AF4C35C90C}" type="slidenum">
              <a:rPr lang="de-DE" smtClean="0"/>
              <a:t>34</a:t>
            </a:fld>
            <a:endParaRPr lang="de-DE"/>
          </a:p>
        </p:txBody>
      </p:sp>
      <p:pic>
        <p:nvPicPr>
          <p:cNvPr id="23" name="Grafik 22" descr="Skizze mit einfarbiger Füllung">
            <a:extLst>
              <a:ext uri="{FF2B5EF4-FFF2-40B4-BE49-F238E27FC236}">
                <a16:creationId xmlns:a16="http://schemas.microsoft.com/office/drawing/2014/main" id="{E8FB6746-897F-7962-F16B-7D923A63FF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8513" y="3077997"/>
            <a:ext cx="379044" cy="379044"/>
          </a:xfrm>
          <a:prstGeom prst="rect">
            <a:avLst/>
          </a:prstGeom>
        </p:spPr>
      </p:pic>
      <p:sp>
        <p:nvSpPr>
          <p:cNvPr id="13" name="Untertitel 3">
            <a:extLst>
              <a:ext uri="{FF2B5EF4-FFF2-40B4-BE49-F238E27FC236}">
                <a16:creationId xmlns:a16="http://schemas.microsoft.com/office/drawing/2014/main" id="{B207AE83-C86C-591A-7941-82E10DBE325A}"/>
              </a:ext>
            </a:extLst>
          </p:cNvPr>
          <p:cNvSpPr txBox="1">
            <a:spLocks/>
          </p:cNvSpPr>
          <p:nvPr/>
        </p:nvSpPr>
        <p:spPr>
          <a:xfrm>
            <a:off x="723624" y="5606113"/>
            <a:ext cx="5862170" cy="59661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Explain how the water’s movement affected the sand in your experiment. What changes did you notice, and what might these represent in a real-world environment?"</a:t>
            </a:r>
            <a:endParaRPr lang="en-US" sz="1200" b="1"/>
          </a:p>
        </p:txBody>
      </p:sp>
      <p:sp>
        <p:nvSpPr>
          <p:cNvPr id="16" name="Textfeld 11">
            <a:extLst>
              <a:ext uri="{FF2B5EF4-FFF2-40B4-BE49-F238E27FC236}">
                <a16:creationId xmlns:a16="http://schemas.microsoft.com/office/drawing/2014/main" id="{592DF4A3-EFAC-5A77-9950-01DD38A8D084}"/>
              </a:ext>
            </a:extLst>
          </p:cNvPr>
          <p:cNvSpPr txBox="1"/>
          <p:nvPr/>
        </p:nvSpPr>
        <p:spPr>
          <a:xfrm>
            <a:off x="723624" y="6486678"/>
            <a:ext cx="6029878" cy="342249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The flat layer of sand shows how sediment is initially spread out but gets mobilized by flowing water.</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The rulers demonstrate how obstacles (natural or artificial) can concentrate sediment buildup, leading to obstructions.</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This simulates how dams or narrowed river channels often experience silting, which can block water flow over time.</a:t>
            </a:r>
            <a:endParaRPr lang="de-DE"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lvl="0">
              <a:lnSpc>
                <a:spcPct val="115000"/>
              </a:lnSpc>
              <a:spcAft>
                <a:spcPts val="800"/>
              </a:spcAft>
              <a:buSzPts val="1000"/>
              <a:tabLst>
                <a:tab pos="457200" algn="l"/>
              </a:tabLst>
            </a:pPr>
            <a:r>
              <a:rPr lang="de-DE" sz="1200" u="sng"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Takeaways</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latin typeface="Sofia Sans" panose="020B0604020202020204" charset="0"/>
                <a:cs typeface="Times New Roman" panose="02020603050405020304" pitchFamily="18" charset="0"/>
              </a:rPr>
              <a:t>Sediment in water systems can be redistributed and accumulate over time.</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latin typeface="Sofia Sans" panose="020B0604020202020204" charset="0"/>
                <a:cs typeface="Times New Roman" panose="02020603050405020304" pitchFamily="18" charset="0"/>
              </a:rPr>
              <a:t>Barriers, like dams or riverbanks, can trap sediment, leading to blockages.</a:t>
            </a:r>
            <a:endParaRPr lang="de-DE" sz="1200" kern="100" dirty="0">
              <a:solidFill>
                <a:srgbClr val="FF0000"/>
              </a:solidFill>
              <a:latin typeface="Sofia Sans" panose="020B0604020202020204" charset="0"/>
              <a:cs typeface="Times New Roman" panose="02020603050405020304" pitchFamily="18" charset="0"/>
            </a:endParaRPr>
          </a:p>
          <a:p>
            <a:pPr marL="342900" lvl="0" indent="-342900">
              <a:lnSpc>
                <a:spcPct val="115000"/>
              </a:lnSpc>
              <a:spcAft>
                <a:spcPts val="800"/>
              </a:spcAft>
              <a:buSzPts val="1000"/>
              <a:buFont typeface="Symbol" panose="05050102010706020507" pitchFamily="18" charset="2"/>
              <a:buChar char=""/>
              <a:tabLst>
                <a:tab pos="457200" algn="l"/>
              </a:tabLst>
            </a:pPr>
            <a:r>
              <a:rPr lang="en-US" sz="1200" kern="100" dirty="0">
                <a:solidFill>
                  <a:srgbClr val="FF0000"/>
                </a:solidFill>
                <a:latin typeface="Sofia Sans" panose="020B0604020202020204" charset="0"/>
                <a:cs typeface="Times New Roman" panose="02020603050405020304" pitchFamily="18" charset="0"/>
              </a:rPr>
              <a:t>This experiment mimics the effects of obstacles such as rocks, trees, or human structures (like dams) on water flow in rivers and streams.</a:t>
            </a:r>
            <a:endParaRPr lang="en-DE" sz="1200" kern="100">
              <a:solidFill>
                <a:srgbClr val="FF0000"/>
              </a:solidFill>
              <a:latin typeface="Sofia Sans" panose="020B0604020202020204" charset="0"/>
              <a:cs typeface="Times New Roman" panose="02020603050405020304" pitchFamily="18" charset="0"/>
            </a:endParaRP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latin typeface="Sofia Sans" panose="020B0604020202020204" charset="0"/>
                <a:cs typeface="Times New Roman" panose="02020603050405020304" pitchFamily="18" charset="0"/>
              </a:rPr>
              <a:t>Managing sediment is critical to ensure water flow and maintain hydro systems.</a:t>
            </a:r>
          </a:p>
          <a:p>
            <a:endParaRPr lang="en-US" sz="1200" dirty="0">
              <a:solidFill>
                <a:schemeClr val="tx1"/>
              </a:solidFill>
              <a:effectLst/>
              <a:latin typeface="Sofia Sans"/>
              <a:ea typeface="Times New Roman" panose="02020603050405020304" pitchFamily="18" charset="0"/>
            </a:endParaRPr>
          </a:p>
        </p:txBody>
      </p:sp>
      <p:sp>
        <p:nvSpPr>
          <p:cNvPr id="5" name="Textfeld 11">
            <a:extLst>
              <a:ext uri="{FF2B5EF4-FFF2-40B4-BE49-F238E27FC236}">
                <a16:creationId xmlns:a16="http://schemas.microsoft.com/office/drawing/2014/main" id="{3A0EA712-E04D-539F-969E-340221BB4B62}"/>
              </a:ext>
            </a:extLst>
          </p:cNvPr>
          <p:cNvSpPr txBox="1"/>
          <p:nvPr/>
        </p:nvSpPr>
        <p:spPr>
          <a:xfrm>
            <a:off x="735743" y="1679237"/>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sp>
        <p:nvSpPr>
          <p:cNvPr id="7" name="Untertitel 3">
            <a:extLst>
              <a:ext uri="{FF2B5EF4-FFF2-40B4-BE49-F238E27FC236}">
                <a16:creationId xmlns:a16="http://schemas.microsoft.com/office/drawing/2014/main" id="{CFBB5D4D-FA08-EF49-60A8-92B688399161}"/>
              </a:ext>
            </a:extLst>
          </p:cNvPr>
          <p:cNvSpPr txBox="1">
            <a:spLocks/>
          </p:cNvSpPr>
          <p:nvPr/>
        </p:nvSpPr>
        <p:spPr>
          <a:xfrm>
            <a:off x="4635295" y="1230515"/>
            <a:ext cx="1475729"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After Water</a:t>
            </a:r>
          </a:p>
        </p:txBody>
      </p:sp>
      <p:sp>
        <p:nvSpPr>
          <p:cNvPr id="10" name="Untertitel 3">
            <a:extLst>
              <a:ext uri="{FF2B5EF4-FFF2-40B4-BE49-F238E27FC236}">
                <a16:creationId xmlns:a16="http://schemas.microsoft.com/office/drawing/2014/main" id="{F96A5292-5F64-D840-9CA4-A9F3604945D1}"/>
              </a:ext>
            </a:extLst>
          </p:cNvPr>
          <p:cNvSpPr txBox="1">
            <a:spLocks/>
          </p:cNvSpPr>
          <p:nvPr/>
        </p:nvSpPr>
        <p:spPr>
          <a:xfrm>
            <a:off x="1390223" y="1261764"/>
            <a:ext cx="1578721"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Before Water</a:t>
            </a:r>
          </a:p>
        </p:txBody>
      </p:sp>
      <p:sp>
        <p:nvSpPr>
          <p:cNvPr id="11" name="Textfeld 11">
            <a:extLst>
              <a:ext uri="{FF2B5EF4-FFF2-40B4-BE49-F238E27FC236}">
                <a16:creationId xmlns:a16="http://schemas.microsoft.com/office/drawing/2014/main" id="{CE87A844-E1B9-C31F-F7AE-A64978117270}"/>
              </a:ext>
            </a:extLst>
          </p:cNvPr>
          <p:cNvSpPr txBox="1"/>
          <p:nvPr/>
        </p:nvSpPr>
        <p:spPr>
          <a:xfrm>
            <a:off x="3958334" y="1647988"/>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pic>
        <p:nvPicPr>
          <p:cNvPr id="3" name="Grafik 2" descr="Ein Bild, das Text, Rechteck, Handschrift enthält.&#10;&#10;KI-generierte Inhalte können fehlerhaft sein.">
            <a:extLst>
              <a:ext uri="{FF2B5EF4-FFF2-40B4-BE49-F238E27FC236}">
                <a16:creationId xmlns:a16="http://schemas.microsoft.com/office/drawing/2014/main" id="{626E0308-6ABF-AB89-1762-88D0216594CC}"/>
              </a:ext>
            </a:extLst>
          </p:cNvPr>
          <p:cNvPicPr>
            <a:picLocks noChangeAspect="1"/>
          </p:cNvPicPr>
          <p:nvPr/>
        </p:nvPicPr>
        <p:blipFill>
          <a:blip r:embed="rId4"/>
          <a:stretch>
            <a:fillRect/>
          </a:stretch>
        </p:blipFill>
        <p:spPr>
          <a:xfrm>
            <a:off x="728283" y="1979649"/>
            <a:ext cx="2736435" cy="2968345"/>
          </a:xfrm>
          <a:prstGeom prst="rect">
            <a:avLst/>
          </a:prstGeom>
        </p:spPr>
      </p:pic>
      <p:pic>
        <p:nvPicPr>
          <p:cNvPr id="4" name="Grafik 3" descr="Ein Bild, das Kunst, Entwurf, Zeichnung, Lineart enthält.&#10;&#10;KI-generierte Inhalte können fehlerhaft sein.">
            <a:extLst>
              <a:ext uri="{FF2B5EF4-FFF2-40B4-BE49-F238E27FC236}">
                <a16:creationId xmlns:a16="http://schemas.microsoft.com/office/drawing/2014/main" id="{AA654209-995F-653F-5E28-435DE61E78BD}"/>
              </a:ext>
            </a:extLst>
          </p:cNvPr>
          <p:cNvPicPr>
            <a:picLocks noChangeAspect="1"/>
          </p:cNvPicPr>
          <p:nvPr/>
        </p:nvPicPr>
        <p:blipFill>
          <a:blip r:embed="rId5"/>
          <a:stretch>
            <a:fillRect/>
          </a:stretch>
        </p:blipFill>
        <p:spPr>
          <a:xfrm>
            <a:off x="3981766" y="1987096"/>
            <a:ext cx="2748303" cy="3119102"/>
          </a:xfrm>
          <a:prstGeom prst="rect">
            <a:avLst/>
          </a:prstGeom>
        </p:spPr>
      </p:pic>
    </p:spTree>
    <p:extLst>
      <p:ext uri="{BB962C8B-B14F-4D97-AF65-F5344CB8AC3E}">
        <p14:creationId xmlns:p14="http://schemas.microsoft.com/office/powerpoint/2010/main" val="10114782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E2E75-6EE3-E108-101D-7A1E0DB7B878}"/>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62338977-AE1C-0C75-A192-A15521E92ED2}"/>
              </a:ext>
            </a:extLst>
          </p:cNvPr>
          <p:cNvSpPr>
            <a:spLocks noGrp="1"/>
          </p:cNvSpPr>
          <p:nvPr>
            <p:ph type="sldNum" sz="quarter" idx="16"/>
          </p:nvPr>
        </p:nvSpPr>
        <p:spPr/>
        <p:txBody>
          <a:bodyPr/>
          <a:lstStyle/>
          <a:p>
            <a:fld id="{DF7F771E-9578-4C04-B869-01AF4C35C90C}" type="slidenum">
              <a:rPr lang="de-DE" smtClean="0"/>
              <a:t>35</a:t>
            </a:fld>
            <a:endParaRPr lang="de-DE"/>
          </a:p>
        </p:txBody>
      </p:sp>
      <p:sp>
        <p:nvSpPr>
          <p:cNvPr id="3" name="Untertitel 5">
            <a:extLst>
              <a:ext uri="{FF2B5EF4-FFF2-40B4-BE49-F238E27FC236}">
                <a16:creationId xmlns:a16="http://schemas.microsoft.com/office/drawing/2014/main" id="{003D247F-7F01-3FED-C0C0-2F6469ABA1A6}"/>
              </a:ext>
            </a:extLst>
          </p:cNvPr>
          <p:cNvSpPr txBox="1">
            <a:spLocks/>
          </p:cNvSpPr>
          <p:nvPr/>
        </p:nvSpPr>
        <p:spPr>
          <a:xfrm>
            <a:off x="738594" y="1277938"/>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3</a:t>
            </a:r>
          </a:p>
        </p:txBody>
      </p:sp>
      <p:pic>
        <p:nvPicPr>
          <p:cNvPr id="4" name="Grafik 3" descr="Skizze mit einfarbiger Füllung">
            <a:extLst>
              <a:ext uri="{FF2B5EF4-FFF2-40B4-BE49-F238E27FC236}">
                <a16:creationId xmlns:a16="http://schemas.microsoft.com/office/drawing/2014/main" id="{D078B823-FB8D-5808-F732-DDF79FE337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8594" y="3399542"/>
            <a:ext cx="379044" cy="379044"/>
          </a:xfrm>
          <a:prstGeom prst="rect">
            <a:avLst/>
          </a:prstGeom>
        </p:spPr>
      </p:pic>
      <p:sp>
        <p:nvSpPr>
          <p:cNvPr id="2" name="Untertitel 3">
            <a:extLst>
              <a:ext uri="{FF2B5EF4-FFF2-40B4-BE49-F238E27FC236}">
                <a16:creationId xmlns:a16="http://schemas.microsoft.com/office/drawing/2014/main" id="{0D7E7145-A71C-5B42-1EF5-54380816F137}"/>
              </a:ext>
            </a:extLst>
          </p:cNvPr>
          <p:cNvSpPr txBox="1">
            <a:spLocks/>
          </p:cNvSpPr>
          <p:nvPr/>
        </p:nvSpPr>
        <p:spPr>
          <a:xfrm>
            <a:off x="719138" y="1667203"/>
            <a:ext cx="5893805" cy="33881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u="sng"/>
              <a:t>Water Silting &amp; Riverbank Erosion </a:t>
            </a:r>
          </a:p>
          <a:p>
            <a:pPr marL="139700" indent="0"/>
            <a:endParaRPr lang="en-US" sz="1200" u="sng"/>
          </a:p>
          <a:p>
            <a:pPr marL="139700" indent="0"/>
            <a:r>
              <a:rPr lang="en-US" sz="1200"/>
              <a:t>Follow these steps to conduct </a:t>
            </a:r>
            <a:r>
              <a:rPr lang="en-US" sz="1200" b="1"/>
              <a:t>Task 3</a:t>
            </a:r>
          </a:p>
          <a:p>
            <a:pPr marL="139700" indent="0"/>
            <a:endParaRPr lang="en-US" sz="1200"/>
          </a:p>
          <a:p>
            <a:pPr marL="482600" indent="-342900">
              <a:lnSpc>
                <a:spcPct val="150000"/>
              </a:lnSpc>
              <a:buClr>
                <a:schemeClr val="accent5"/>
              </a:buClr>
              <a:buSzPct val="121000"/>
              <a:buFont typeface="+mj-lt"/>
              <a:buAutoNum type="arabicPeriod"/>
            </a:pPr>
            <a:r>
              <a:rPr lang="en-US" sz="1200"/>
              <a:t>Prepare the box as described on page 30.</a:t>
            </a:r>
          </a:p>
          <a:p>
            <a:pPr marL="482600" indent="-342900">
              <a:lnSpc>
                <a:spcPct val="150000"/>
              </a:lnSpc>
              <a:buClr>
                <a:schemeClr val="accent5"/>
              </a:buClr>
              <a:buSzPct val="121000"/>
              <a:buFont typeface="+mj-lt"/>
              <a:buAutoNum type="arabicPeriod"/>
            </a:pPr>
            <a:r>
              <a:rPr lang="en-US" sz="1200"/>
              <a:t>Shape a river: Use your finger or tool to form a winding river (meandering path) in the middle of the box, leading to the end of it.</a:t>
            </a:r>
          </a:p>
          <a:p>
            <a:pPr marL="482600" indent="-342900">
              <a:lnSpc>
                <a:spcPct val="150000"/>
              </a:lnSpc>
              <a:buClr>
                <a:schemeClr val="accent5"/>
              </a:buClr>
              <a:buSzPct val="121000"/>
              <a:buFont typeface="+mj-lt"/>
              <a:buAutoNum type="arabicPeriod"/>
            </a:pPr>
            <a:r>
              <a:rPr lang="en-US" sz="1200"/>
              <a:t>Elevate the end of the box containing the sand to create an incline. </a:t>
            </a:r>
          </a:p>
          <a:p>
            <a:pPr marL="482600" indent="-342900">
              <a:lnSpc>
                <a:spcPct val="150000"/>
              </a:lnSpc>
              <a:buClr>
                <a:schemeClr val="accent5"/>
              </a:buClr>
              <a:buSzPct val="121000"/>
              <a:buFont typeface="+mj-lt"/>
              <a:buAutoNum type="arabicPeriod"/>
            </a:pPr>
            <a:r>
              <a:rPr lang="en-US" sz="1200"/>
              <a:t>Hold the beaker 10 centimeters above the sand. Slowly and steadily pour the water onto the raised end of the box until its half empty (simulate river flow)</a:t>
            </a:r>
          </a:p>
          <a:p>
            <a:pPr marL="482600" indent="-342900">
              <a:lnSpc>
                <a:spcPct val="150000"/>
              </a:lnSpc>
              <a:buClr>
                <a:schemeClr val="accent5"/>
              </a:buClr>
              <a:buSzPct val="121000"/>
              <a:buFont typeface="+mj-lt"/>
              <a:buAutoNum type="arabicPeriod"/>
            </a:pPr>
            <a:r>
              <a:rPr lang="en-US" sz="1200"/>
              <a:t>When the water is flowing in your river, increase the amount by pouring the rest of the water from the beaker faster.</a:t>
            </a:r>
          </a:p>
          <a:p>
            <a:pPr marL="482600" indent="-342900">
              <a:lnSpc>
                <a:spcPct val="150000"/>
              </a:lnSpc>
              <a:buClr>
                <a:schemeClr val="accent5"/>
              </a:buClr>
              <a:buSzPct val="121000"/>
              <a:buFont typeface="+mj-lt"/>
              <a:buAutoNum type="arabicPeriod"/>
            </a:pPr>
            <a:r>
              <a:rPr lang="en-US" sz="1200"/>
              <a:t>Record your observations in the space provided on the next page.</a:t>
            </a:r>
          </a:p>
          <a:p>
            <a:pPr marL="139700" indent="0"/>
            <a:endParaRPr lang="en-US" sz="1200">
              <a:latin typeface="Sofia Sans" panose="020B0604020202020204" charset="0"/>
            </a:endParaRPr>
          </a:p>
          <a:p>
            <a:pPr>
              <a:lnSpc>
                <a:spcPct val="114999"/>
              </a:lnSpc>
            </a:pPr>
            <a:r>
              <a:rPr lang="en-US" sz="1200" b="1">
                <a:solidFill>
                  <a:schemeClr val="tx1"/>
                </a:solidFill>
              </a:rPr>
              <a:t>Draw top-view pictures of the sand before and after pouring water on it.</a:t>
            </a:r>
            <a:endParaRPr lang="en-US" sz="1200">
              <a:solidFill>
                <a:schemeClr val="tx1"/>
              </a:solidFill>
            </a:endParaRPr>
          </a:p>
        </p:txBody>
      </p:sp>
      <p:grpSp>
        <p:nvGrpSpPr>
          <p:cNvPr id="12" name="Gruppieren 11">
            <a:extLst>
              <a:ext uri="{FF2B5EF4-FFF2-40B4-BE49-F238E27FC236}">
                <a16:creationId xmlns:a16="http://schemas.microsoft.com/office/drawing/2014/main" id="{AA2D6658-041A-D10E-76D9-1D47DE009D7E}"/>
              </a:ext>
            </a:extLst>
          </p:cNvPr>
          <p:cNvGrpSpPr/>
          <p:nvPr/>
        </p:nvGrpSpPr>
        <p:grpSpPr>
          <a:xfrm>
            <a:off x="854812" y="5747657"/>
            <a:ext cx="5850051" cy="3948685"/>
            <a:chOff x="854812" y="4783940"/>
            <a:chExt cx="5850051" cy="4214793"/>
          </a:xfrm>
        </p:grpSpPr>
        <p:sp>
          <p:nvSpPr>
            <p:cNvPr id="17" name="Textfeld 11">
              <a:extLst>
                <a:ext uri="{FF2B5EF4-FFF2-40B4-BE49-F238E27FC236}">
                  <a16:creationId xmlns:a16="http://schemas.microsoft.com/office/drawing/2014/main" id="{709BFE22-29A3-E2BE-8208-91471103A139}"/>
                </a:ext>
              </a:extLst>
            </p:cNvPr>
            <p:cNvSpPr txBox="1"/>
            <p:nvPr/>
          </p:nvSpPr>
          <p:spPr>
            <a:xfrm>
              <a:off x="854812" y="5201414"/>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sp>
          <p:nvSpPr>
            <p:cNvPr id="18" name="Untertitel 3">
              <a:extLst>
                <a:ext uri="{FF2B5EF4-FFF2-40B4-BE49-F238E27FC236}">
                  <a16:creationId xmlns:a16="http://schemas.microsoft.com/office/drawing/2014/main" id="{1E546E9F-4557-857C-CDD0-B6A495AAE3A7}"/>
                </a:ext>
              </a:extLst>
            </p:cNvPr>
            <p:cNvSpPr txBox="1">
              <a:spLocks/>
            </p:cNvSpPr>
            <p:nvPr/>
          </p:nvSpPr>
          <p:spPr>
            <a:xfrm>
              <a:off x="4615671" y="4783940"/>
              <a:ext cx="1513759"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After Water</a:t>
              </a:r>
            </a:p>
          </p:txBody>
        </p:sp>
        <p:sp>
          <p:nvSpPr>
            <p:cNvPr id="19" name="Untertitel 3">
              <a:extLst>
                <a:ext uri="{FF2B5EF4-FFF2-40B4-BE49-F238E27FC236}">
                  <a16:creationId xmlns:a16="http://schemas.microsoft.com/office/drawing/2014/main" id="{B1CE24A3-B9E5-D348-3C43-17B398EEF8B7}"/>
                </a:ext>
              </a:extLst>
            </p:cNvPr>
            <p:cNvSpPr txBox="1">
              <a:spLocks/>
            </p:cNvSpPr>
            <p:nvPr/>
          </p:nvSpPr>
          <p:spPr>
            <a:xfrm>
              <a:off x="1509292" y="4783941"/>
              <a:ext cx="1628619"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Sand Before Water</a:t>
              </a:r>
            </a:p>
          </p:txBody>
        </p:sp>
        <p:sp>
          <p:nvSpPr>
            <p:cNvPr id="20" name="Textfeld 11">
              <a:extLst>
                <a:ext uri="{FF2B5EF4-FFF2-40B4-BE49-F238E27FC236}">
                  <a16:creationId xmlns:a16="http://schemas.microsoft.com/office/drawing/2014/main" id="{31F44147-2E97-1329-BADB-3440C80692FC}"/>
                </a:ext>
              </a:extLst>
            </p:cNvPr>
            <p:cNvSpPr txBox="1"/>
            <p:nvPr/>
          </p:nvSpPr>
          <p:spPr>
            <a:xfrm>
              <a:off x="3909695" y="5201413"/>
              <a:ext cx="2795168" cy="379731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grpSp>
      <p:pic>
        <p:nvPicPr>
          <p:cNvPr id="5" name="Grafik 4" descr="Ein Bild, das Entwurf, Zeichnung, Kunst enthält.&#10;&#10;KI-generierte Inhalte können fehlerhaft sein.">
            <a:extLst>
              <a:ext uri="{FF2B5EF4-FFF2-40B4-BE49-F238E27FC236}">
                <a16:creationId xmlns:a16="http://schemas.microsoft.com/office/drawing/2014/main" id="{B3BD59AF-602C-8723-8DCE-51A33F18BB77}"/>
              </a:ext>
            </a:extLst>
          </p:cNvPr>
          <p:cNvPicPr>
            <a:picLocks noChangeAspect="1"/>
          </p:cNvPicPr>
          <p:nvPr/>
        </p:nvPicPr>
        <p:blipFill>
          <a:blip r:embed="rId4"/>
          <a:stretch>
            <a:fillRect/>
          </a:stretch>
        </p:blipFill>
        <p:spPr>
          <a:xfrm>
            <a:off x="881020" y="6197080"/>
            <a:ext cx="2743435" cy="3133725"/>
          </a:xfrm>
          <a:prstGeom prst="rect">
            <a:avLst/>
          </a:prstGeom>
        </p:spPr>
      </p:pic>
      <p:pic>
        <p:nvPicPr>
          <p:cNvPr id="6" name="Grafik 5" descr="Ein Bild, das Text, Papier, Handschrift, Papierprodukt enthält.&#10;&#10;KI-generierte Inhalte können fehlerhaft sein.">
            <a:extLst>
              <a:ext uri="{FF2B5EF4-FFF2-40B4-BE49-F238E27FC236}">
                <a16:creationId xmlns:a16="http://schemas.microsoft.com/office/drawing/2014/main" id="{98A58C86-CF68-A255-9A88-154C8EC4BF66}"/>
              </a:ext>
            </a:extLst>
          </p:cNvPr>
          <p:cNvPicPr>
            <a:picLocks noChangeAspect="1"/>
          </p:cNvPicPr>
          <p:nvPr/>
        </p:nvPicPr>
        <p:blipFill>
          <a:blip r:embed="rId5"/>
          <a:stretch>
            <a:fillRect/>
          </a:stretch>
        </p:blipFill>
        <p:spPr>
          <a:xfrm>
            <a:off x="3964856" y="6292524"/>
            <a:ext cx="2743435" cy="3038475"/>
          </a:xfrm>
          <a:prstGeom prst="rect">
            <a:avLst/>
          </a:prstGeom>
        </p:spPr>
      </p:pic>
    </p:spTree>
    <p:extLst>
      <p:ext uri="{BB962C8B-B14F-4D97-AF65-F5344CB8AC3E}">
        <p14:creationId xmlns:p14="http://schemas.microsoft.com/office/powerpoint/2010/main" val="541787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F5B16-CC96-2835-ADE9-F7C1A0AEF7A4}"/>
            </a:ext>
          </a:extLst>
        </p:cNvPr>
        <p:cNvGrpSpPr/>
        <p:nvPr/>
      </p:nvGrpSpPr>
      <p:grpSpPr>
        <a:xfrm>
          <a:off x="0" y="0"/>
          <a:ext cx="0" cy="0"/>
          <a:chOff x="0" y="0"/>
          <a:chExt cx="0" cy="0"/>
        </a:xfrm>
      </p:grpSpPr>
      <p:sp>
        <p:nvSpPr>
          <p:cNvPr id="10" name="Textfeld 11">
            <a:extLst>
              <a:ext uri="{FF2B5EF4-FFF2-40B4-BE49-F238E27FC236}">
                <a16:creationId xmlns:a16="http://schemas.microsoft.com/office/drawing/2014/main" id="{C86731E1-5B1C-799C-4961-520103613BE9}"/>
              </a:ext>
            </a:extLst>
          </p:cNvPr>
          <p:cNvSpPr txBox="1"/>
          <p:nvPr/>
        </p:nvSpPr>
        <p:spPr>
          <a:xfrm>
            <a:off x="951778" y="2010730"/>
            <a:ext cx="5850051" cy="420506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800"/>
              </a:spcAft>
            </a:pPr>
            <a:r>
              <a:rPr lang="en-DE" sz="1200" b="1" kern="100">
                <a:solidFill>
                  <a:srgbClr val="FF0000"/>
                </a:solidFill>
                <a:effectLst/>
                <a:latin typeface="Sofia Sans" panose="020B0604020202020204" charset="0"/>
                <a:ea typeface="Aptos" panose="020B0004020202020204" pitchFamily="34" charset="0"/>
                <a:cs typeface="Times New Roman"/>
              </a:rPr>
              <a:t>Water’s Effect on Sand:</a:t>
            </a:r>
            <a:endParaRPr lang="en-DE" sz="1200" kern="100">
              <a:solidFill>
                <a:srgbClr val="FF0000"/>
              </a:solidFill>
              <a:effectLst/>
              <a:latin typeface="Sofia Sans" panose="020B0604020202020204" charset="0"/>
              <a:ea typeface="Aptos" panose="020B0004020202020204" pitchFamily="34" charset="0"/>
              <a:cs typeface="Times New Roman"/>
            </a:endParaRP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a:rPr>
              <a:t>As the water flowed slowly, it eroded the riverbanks and deepened the riverbed, carving out </a:t>
            </a:r>
            <a:r>
              <a:rPr lang="en-DE" sz="1200" kern="100">
                <a:solidFill>
                  <a:srgbClr val="FF0000"/>
                </a:solidFill>
                <a:latin typeface="Sofia Sans" panose="020B0604020202020204" charset="0"/>
                <a:ea typeface="Aptos" panose="020B0004020202020204" pitchFamily="34" charset="0"/>
                <a:cs typeface="Times New Roman"/>
              </a:rPr>
              <a:t>channels</a:t>
            </a:r>
            <a:r>
              <a:rPr lang="en-DE" sz="1200" kern="100">
                <a:solidFill>
                  <a:srgbClr val="FF0000"/>
                </a:solidFill>
                <a:effectLst/>
                <a:latin typeface="Sofia Sans" panose="020B0604020202020204" charset="0"/>
                <a:ea typeface="Aptos" panose="020B0004020202020204" pitchFamily="34" charset="0"/>
                <a:cs typeface="Times New Roman"/>
              </a:rPr>
              <a:t>.</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a:rPr>
              <a:t>When the water flow increased, more sand was carried away from the banks and deposited at the end of the river, forming a small mound or delta.</a:t>
            </a:r>
          </a:p>
          <a:p>
            <a:pPr marL="342900" indent="-342900">
              <a:lnSpc>
                <a:spcPct val="114999"/>
              </a:lnSpc>
              <a:spcAft>
                <a:spcPts val="800"/>
              </a:spcAft>
              <a:buSzPts val="1000"/>
              <a:buFont typeface="Symbol" panose="05050102010706020507" pitchFamily="18" charset="2"/>
              <a:buChar char=""/>
            </a:pPr>
            <a:r>
              <a:rPr lang="en-US" sz="1200" kern="100" dirty="0">
                <a:solidFill>
                  <a:srgbClr val="FF0000"/>
                </a:solidFill>
                <a:latin typeface="Sofia Sans" panose="020B0604020202020204" charset="0"/>
              </a:rPr>
              <a:t>The river, which previously had sharp meanders, now has softer curves due to sediment being washed away</a:t>
            </a:r>
          </a:p>
          <a:p>
            <a:pPr marL="342900" indent="-342900">
              <a:lnSpc>
                <a:spcPct val="114999"/>
              </a:lnSpc>
              <a:spcAft>
                <a:spcPts val="800"/>
              </a:spcAft>
              <a:buSzPts val="1000"/>
              <a:buFont typeface="Symbol" panose="05050102010706020507" pitchFamily="18" charset="2"/>
              <a:buChar char=""/>
            </a:pPr>
            <a:r>
              <a:rPr lang="en-US" sz="1200" kern="100" dirty="0">
                <a:solidFill>
                  <a:srgbClr val="FF0000"/>
                </a:solidFill>
                <a:latin typeface="Sofia Sans" panose="020B0604020202020204" charset="0"/>
              </a:rPr>
              <a:t>If the river flow is slow and there is a significant amount of silt, such as from a mountain, the silt would settle at the bottom of the river due to reduced water velocity. This process, called sedimentation, can lead to the riverbed becoming silted, potentially affecting water flow and the surrounding ecosystem</a:t>
            </a:r>
            <a:r>
              <a:rPr lang="en-DE" sz="1200" kern="100">
                <a:solidFill>
                  <a:srgbClr val="FF0000"/>
                </a:solidFill>
                <a:latin typeface="Sofia Sans" panose="020B0604020202020204" charset="0"/>
              </a:rPr>
              <a:t>Real-World Implications:</a:t>
            </a: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panose="020B0604020202020204" charset="0"/>
                <a:ea typeface="Aptos" panose="020B0004020202020204" pitchFamily="34" charset="0"/>
                <a:cs typeface="Times New Roman"/>
              </a:rPr>
              <a:t>This experiment shows how rivers shape the land by eroding soil and depositing sediment in slower-moving areas, creating natural features like river deltas and floodplains over time.</a:t>
            </a:r>
          </a:p>
          <a:p>
            <a:endParaRPr lang="en-US" sz="1200" dirty="0">
              <a:solidFill>
                <a:srgbClr val="FF0000"/>
              </a:solidFill>
              <a:effectLst/>
              <a:latin typeface="Sofia Sans" panose="020B0604020202020204" charset="0"/>
              <a:ea typeface="Times New Roman" panose="02020603050405020304" pitchFamily="18" charset="0"/>
            </a:endParaRPr>
          </a:p>
        </p:txBody>
      </p:sp>
      <p:sp>
        <p:nvSpPr>
          <p:cNvPr id="15" name="Foliennummernplatzhalter 14">
            <a:extLst>
              <a:ext uri="{FF2B5EF4-FFF2-40B4-BE49-F238E27FC236}">
                <a16:creationId xmlns:a16="http://schemas.microsoft.com/office/drawing/2014/main" id="{8CD32B0F-96B6-BC5F-AA12-0BDFDA0194C9}"/>
              </a:ext>
            </a:extLst>
          </p:cNvPr>
          <p:cNvSpPr>
            <a:spLocks noGrp="1"/>
          </p:cNvSpPr>
          <p:nvPr>
            <p:ph type="sldNum" sz="quarter" idx="10"/>
          </p:nvPr>
        </p:nvSpPr>
        <p:spPr/>
        <p:txBody>
          <a:bodyPr/>
          <a:lstStyle/>
          <a:p>
            <a:fld id="{DF7F771E-9578-4C04-B869-01AF4C35C90C}" type="slidenum">
              <a:rPr lang="de-DE" smtClean="0"/>
              <a:t>36</a:t>
            </a:fld>
            <a:endParaRPr lang="de-DE"/>
          </a:p>
        </p:txBody>
      </p:sp>
      <p:pic>
        <p:nvPicPr>
          <p:cNvPr id="4" name="Grafik 3" descr="Skizze mit einfarbiger Füllung">
            <a:extLst>
              <a:ext uri="{FF2B5EF4-FFF2-40B4-BE49-F238E27FC236}">
                <a16:creationId xmlns:a16="http://schemas.microsoft.com/office/drawing/2014/main" id="{3456F857-23D0-7467-7445-05271E155E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2342374"/>
            <a:ext cx="379044" cy="379044"/>
          </a:xfrm>
          <a:prstGeom prst="rect">
            <a:avLst/>
          </a:prstGeom>
        </p:spPr>
      </p:pic>
      <p:sp>
        <p:nvSpPr>
          <p:cNvPr id="9" name="Untertitel 3">
            <a:extLst>
              <a:ext uri="{FF2B5EF4-FFF2-40B4-BE49-F238E27FC236}">
                <a16:creationId xmlns:a16="http://schemas.microsoft.com/office/drawing/2014/main" id="{8C595046-ECD5-84BA-24D5-DE9684D7C472}"/>
              </a:ext>
            </a:extLst>
          </p:cNvPr>
          <p:cNvSpPr txBox="1">
            <a:spLocks/>
          </p:cNvSpPr>
          <p:nvPr/>
        </p:nvSpPr>
        <p:spPr>
          <a:xfrm>
            <a:off x="719138" y="1282279"/>
            <a:ext cx="5985724" cy="7284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Explain how the water’s movement affected the sand in your experiment. What changes did you notice, and what might these represent in a real-world environment?</a:t>
            </a:r>
            <a:endParaRPr lang="en-US" sz="1200" b="1"/>
          </a:p>
        </p:txBody>
      </p:sp>
    </p:spTree>
    <p:extLst>
      <p:ext uri="{BB962C8B-B14F-4D97-AF65-F5344CB8AC3E}">
        <p14:creationId xmlns:p14="http://schemas.microsoft.com/office/powerpoint/2010/main" val="9254226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1B84-0FFA-8BCC-8133-D34773F34622}"/>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B6034FCD-EDDD-06CD-E989-36A85C6C48EF}"/>
              </a:ext>
            </a:extLst>
          </p:cNvPr>
          <p:cNvSpPr>
            <a:spLocks noGrp="1"/>
          </p:cNvSpPr>
          <p:nvPr>
            <p:ph type="sldNum" sz="quarter" idx="4"/>
          </p:nvPr>
        </p:nvSpPr>
        <p:spPr/>
        <p:txBody>
          <a:bodyPr/>
          <a:lstStyle/>
          <a:p>
            <a:fld id="{DF7F771E-9578-4C04-B869-01AF4C35C90C}" type="slidenum">
              <a:rPr lang="de-DE" smtClean="0"/>
              <a:t>37</a:t>
            </a:fld>
            <a:endParaRPr lang="de-DE"/>
          </a:p>
        </p:txBody>
      </p:sp>
      <p:sp>
        <p:nvSpPr>
          <p:cNvPr id="3" name="Untertitel 5">
            <a:extLst>
              <a:ext uri="{FF2B5EF4-FFF2-40B4-BE49-F238E27FC236}">
                <a16:creationId xmlns:a16="http://schemas.microsoft.com/office/drawing/2014/main" id="{C59C91D8-8271-01E1-83EC-8C3B9BA49C0C}"/>
              </a:ext>
            </a:extLst>
          </p:cNvPr>
          <p:cNvSpPr txBox="1">
            <a:spLocks/>
          </p:cNvSpPr>
          <p:nvPr/>
        </p:nvSpPr>
        <p:spPr>
          <a:xfrm>
            <a:off x="748322" y="1293516"/>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4</a:t>
            </a:r>
          </a:p>
        </p:txBody>
      </p:sp>
      <p:sp>
        <p:nvSpPr>
          <p:cNvPr id="2" name="Untertitel 3">
            <a:extLst>
              <a:ext uri="{FF2B5EF4-FFF2-40B4-BE49-F238E27FC236}">
                <a16:creationId xmlns:a16="http://schemas.microsoft.com/office/drawing/2014/main" id="{A8FDC6D4-40C0-C576-6139-4C31F40F6AEA}"/>
              </a:ext>
            </a:extLst>
          </p:cNvPr>
          <p:cNvSpPr txBox="1">
            <a:spLocks/>
          </p:cNvSpPr>
          <p:nvPr/>
        </p:nvSpPr>
        <p:spPr>
          <a:xfrm>
            <a:off x="748322" y="1712157"/>
            <a:ext cx="6158316" cy="42995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u="sng"/>
              <a:t>Water Flooding</a:t>
            </a:r>
          </a:p>
          <a:p>
            <a:pPr marL="139700" indent="0"/>
            <a:endParaRPr lang="en-US" sz="1200" u="sng"/>
          </a:p>
          <a:p>
            <a:pPr marL="139700" indent="0"/>
            <a:r>
              <a:rPr lang="en-US" sz="1200"/>
              <a:t>Follow these steps to conduct </a:t>
            </a:r>
            <a:r>
              <a:rPr lang="en-US" sz="1200" b="1"/>
              <a:t>Task 4</a:t>
            </a:r>
          </a:p>
          <a:p>
            <a:pPr marL="139700" indent="0"/>
            <a:endParaRPr lang="en-US" sz="1200"/>
          </a:p>
          <a:p>
            <a:pPr marL="482600" indent="-342900">
              <a:lnSpc>
                <a:spcPct val="150000"/>
              </a:lnSpc>
              <a:buClr>
                <a:schemeClr val="accent5"/>
              </a:buClr>
              <a:buSzPct val="121000"/>
              <a:buFont typeface="+mj-lt"/>
              <a:buAutoNum type="arabicPeriod"/>
            </a:pPr>
            <a:r>
              <a:rPr lang="en-US" sz="1200"/>
              <a:t>Prepare the box as described on page 30.</a:t>
            </a:r>
          </a:p>
          <a:p>
            <a:pPr marL="482600" indent="-342900">
              <a:lnSpc>
                <a:spcPct val="150000"/>
              </a:lnSpc>
              <a:buClr>
                <a:schemeClr val="accent5"/>
              </a:buClr>
              <a:buSzPct val="121000"/>
              <a:buFont typeface="+mj-lt"/>
              <a:buAutoNum type="arabicPeriod"/>
            </a:pPr>
            <a:r>
              <a:rPr lang="en-US" sz="1200"/>
              <a:t>Insert the cardboard into the box to act as a barrier.</a:t>
            </a:r>
          </a:p>
          <a:p>
            <a:pPr marL="482600" indent="-342900">
              <a:lnSpc>
                <a:spcPct val="150000"/>
              </a:lnSpc>
              <a:buClr>
                <a:schemeClr val="accent5"/>
              </a:buClr>
              <a:buSzPct val="121000"/>
              <a:buFont typeface="+mj-lt"/>
              <a:buAutoNum type="arabicPeriod"/>
            </a:pPr>
            <a:r>
              <a:rPr lang="en-US" sz="1200"/>
              <a:t>Use a ruler or another piece of cardboard to cover the opening in the barrier, ensuring no water can flow through when you start pouring.</a:t>
            </a:r>
          </a:p>
          <a:p>
            <a:pPr marL="482600" indent="-342900">
              <a:lnSpc>
                <a:spcPct val="150000"/>
              </a:lnSpc>
              <a:buClr>
                <a:schemeClr val="accent5"/>
              </a:buClr>
              <a:buSzPct val="121000"/>
              <a:buFont typeface="+mj-lt"/>
              <a:buAutoNum type="arabicPeriod"/>
            </a:pPr>
            <a:r>
              <a:rPr lang="en-US" sz="1200"/>
              <a:t>Place books underneath the end of the box with the sand to raise it. Ensure the box is stable and does not wobble.</a:t>
            </a:r>
          </a:p>
          <a:p>
            <a:pPr marL="482600" indent="-342900">
              <a:lnSpc>
                <a:spcPct val="150000"/>
              </a:lnSpc>
              <a:buClr>
                <a:schemeClr val="accent5"/>
              </a:buClr>
              <a:buSzPct val="121000"/>
              <a:buFont typeface="+mj-lt"/>
              <a:buAutoNum type="arabicPeriod"/>
            </a:pPr>
            <a:r>
              <a:rPr lang="en-US" sz="1200"/>
              <a:t>Hold the beaker 5 centimeters above the sand. Pour all the water from the beaker onto the raised end of the pan (slow and steady) to simulate a reservoir filling up behind the barrier.</a:t>
            </a:r>
          </a:p>
          <a:p>
            <a:pPr marL="482600" indent="-342900">
              <a:lnSpc>
                <a:spcPct val="150000"/>
              </a:lnSpc>
              <a:buClr>
                <a:schemeClr val="accent5"/>
              </a:buClr>
              <a:buSzPct val="121000"/>
              <a:buFont typeface="+mj-lt"/>
              <a:buAutoNum type="arabicPeriod"/>
            </a:pPr>
            <a:r>
              <a:rPr lang="en-US" sz="1200"/>
              <a:t>Simulate the Flood: Once the beaker is empty, remove the ruler or cardboard covering the opening to release the water.</a:t>
            </a:r>
          </a:p>
          <a:p>
            <a:pPr>
              <a:lnSpc>
                <a:spcPct val="114999"/>
              </a:lnSpc>
            </a:pPr>
            <a:endParaRPr lang="en-US" sz="1200" b="1">
              <a:solidFill>
                <a:schemeClr val="tx1"/>
              </a:solidFill>
            </a:endParaRPr>
          </a:p>
          <a:p>
            <a:pPr>
              <a:lnSpc>
                <a:spcPct val="114999"/>
              </a:lnSpc>
            </a:pPr>
            <a:r>
              <a:rPr lang="en-US" sz="1200" b="1">
                <a:solidFill>
                  <a:schemeClr val="tx1"/>
                </a:solidFill>
              </a:rPr>
              <a:t>Draw top-view pictures of the sand before and after pouring water on it.</a:t>
            </a:r>
            <a:endParaRPr lang="en-US" sz="1200">
              <a:solidFill>
                <a:srgbClr val="000000"/>
              </a:solidFill>
            </a:endParaRPr>
          </a:p>
          <a:p>
            <a:pPr marL="139700" indent="0">
              <a:lnSpc>
                <a:spcPct val="114999"/>
              </a:lnSpc>
            </a:pPr>
            <a:endParaRPr lang="en-US" sz="1200" b="1">
              <a:solidFill>
                <a:schemeClr val="tx1"/>
              </a:solidFill>
            </a:endParaRPr>
          </a:p>
          <a:p>
            <a:pPr marL="139700" indent="0"/>
            <a:endParaRPr lang="en-US" sz="1200">
              <a:latin typeface="Sofia Sans" panose="020B0604020202020204" charset="0"/>
            </a:endParaRPr>
          </a:p>
        </p:txBody>
      </p:sp>
      <p:sp>
        <p:nvSpPr>
          <p:cNvPr id="6" name="Textfeld 11">
            <a:extLst>
              <a:ext uri="{FF2B5EF4-FFF2-40B4-BE49-F238E27FC236}">
                <a16:creationId xmlns:a16="http://schemas.microsoft.com/office/drawing/2014/main" id="{026B7DA3-683D-3945-2C99-15A08ACA4075}"/>
              </a:ext>
            </a:extLst>
          </p:cNvPr>
          <p:cNvSpPr txBox="1"/>
          <p:nvPr/>
        </p:nvSpPr>
        <p:spPr>
          <a:xfrm>
            <a:off x="854812" y="6627224"/>
            <a:ext cx="2795168" cy="335335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sp>
        <p:nvSpPr>
          <p:cNvPr id="7" name="Untertitel 3">
            <a:extLst>
              <a:ext uri="{FF2B5EF4-FFF2-40B4-BE49-F238E27FC236}">
                <a16:creationId xmlns:a16="http://schemas.microsoft.com/office/drawing/2014/main" id="{7EFC93AC-0357-732F-ECFD-053E2CA20EA0}"/>
              </a:ext>
            </a:extLst>
          </p:cNvPr>
          <p:cNvSpPr txBox="1">
            <a:spLocks/>
          </p:cNvSpPr>
          <p:nvPr/>
        </p:nvSpPr>
        <p:spPr>
          <a:xfrm>
            <a:off x="4615671" y="6229411"/>
            <a:ext cx="1383216"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Pan After Water</a:t>
            </a:r>
          </a:p>
        </p:txBody>
      </p:sp>
      <p:sp>
        <p:nvSpPr>
          <p:cNvPr id="8" name="Untertitel 3">
            <a:extLst>
              <a:ext uri="{FF2B5EF4-FFF2-40B4-BE49-F238E27FC236}">
                <a16:creationId xmlns:a16="http://schemas.microsoft.com/office/drawing/2014/main" id="{C510948E-294B-1694-988B-D49B6507D1AD}"/>
              </a:ext>
            </a:extLst>
          </p:cNvPr>
          <p:cNvSpPr txBox="1">
            <a:spLocks/>
          </p:cNvSpPr>
          <p:nvPr/>
        </p:nvSpPr>
        <p:spPr>
          <a:xfrm>
            <a:off x="1509292" y="6229412"/>
            <a:ext cx="1486208" cy="3745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b="1">
                <a:solidFill>
                  <a:schemeClr val="tx1"/>
                </a:solidFill>
              </a:rPr>
              <a:t>Pan Before Water</a:t>
            </a:r>
          </a:p>
        </p:txBody>
      </p:sp>
      <p:sp>
        <p:nvSpPr>
          <p:cNvPr id="9" name="Textfeld 11">
            <a:extLst>
              <a:ext uri="{FF2B5EF4-FFF2-40B4-BE49-F238E27FC236}">
                <a16:creationId xmlns:a16="http://schemas.microsoft.com/office/drawing/2014/main" id="{72779C9F-931D-8602-5C59-75E55B68BE70}"/>
              </a:ext>
            </a:extLst>
          </p:cNvPr>
          <p:cNvSpPr txBox="1"/>
          <p:nvPr/>
        </p:nvSpPr>
        <p:spPr>
          <a:xfrm>
            <a:off x="3909695" y="6627223"/>
            <a:ext cx="2795168" cy="335335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a:solidFill>
                <a:schemeClr val="tx1"/>
              </a:solidFill>
              <a:latin typeface="Sofia Sans"/>
              <a:ea typeface="Times New Roman" panose="02020603050405020304" pitchFamily="18" charset="0"/>
            </a:endParaRPr>
          </a:p>
          <a:p>
            <a:endParaRPr lang="en-US" sz="1200">
              <a:solidFill>
                <a:schemeClr val="tx1"/>
              </a:solidFill>
              <a:effectLst/>
              <a:latin typeface="Sofia Sans"/>
              <a:ea typeface="Times New Roman" panose="02020603050405020304" pitchFamily="18" charset="0"/>
            </a:endParaRPr>
          </a:p>
        </p:txBody>
      </p:sp>
      <p:pic>
        <p:nvPicPr>
          <p:cNvPr id="12" name="Grafik 11" descr="Ein Bild, das Rechteck, Entwurf, Text, Handschrift enthält.&#10;&#10;KI-generierte Inhalte können fehlerhaft sein.">
            <a:extLst>
              <a:ext uri="{FF2B5EF4-FFF2-40B4-BE49-F238E27FC236}">
                <a16:creationId xmlns:a16="http://schemas.microsoft.com/office/drawing/2014/main" id="{91FA32D3-723B-64F8-237C-487B82B12AC6}"/>
              </a:ext>
            </a:extLst>
          </p:cNvPr>
          <p:cNvPicPr>
            <a:picLocks noChangeAspect="1"/>
          </p:cNvPicPr>
          <p:nvPr/>
        </p:nvPicPr>
        <p:blipFill>
          <a:blip r:embed="rId2"/>
          <a:stretch>
            <a:fillRect/>
          </a:stretch>
        </p:blipFill>
        <p:spPr>
          <a:xfrm>
            <a:off x="864158" y="6778717"/>
            <a:ext cx="2748589" cy="2969151"/>
          </a:xfrm>
          <a:prstGeom prst="rect">
            <a:avLst/>
          </a:prstGeom>
        </p:spPr>
      </p:pic>
      <p:pic>
        <p:nvPicPr>
          <p:cNvPr id="13" name="Grafik 12" descr="Ein Bild, das Entwurf, Zeichnung, Kunst enthält.&#10;&#10;KI-generierte Inhalte können fehlerhaft sein.">
            <a:extLst>
              <a:ext uri="{FF2B5EF4-FFF2-40B4-BE49-F238E27FC236}">
                <a16:creationId xmlns:a16="http://schemas.microsoft.com/office/drawing/2014/main" id="{2889C3D9-1570-F984-9887-309563BAE30F}"/>
              </a:ext>
            </a:extLst>
          </p:cNvPr>
          <p:cNvPicPr>
            <a:picLocks noChangeAspect="1"/>
          </p:cNvPicPr>
          <p:nvPr/>
        </p:nvPicPr>
        <p:blipFill>
          <a:blip r:embed="rId3"/>
          <a:stretch>
            <a:fillRect/>
          </a:stretch>
        </p:blipFill>
        <p:spPr>
          <a:xfrm>
            <a:off x="3958258" y="6777256"/>
            <a:ext cx="2736721" cy="2970612"/>
          </a:xfrm>
          <a:prstGeom prst="rect">
            <a:avLst/>
          </a:prstGeom>
        </p:spPr>
      </p:pic>
    </p:spTree>
    <p:extLst>
      <p:ext uri="{BB962C8B-B14F-4D97-AF65-F5344CB8AC3E}">
        <p14:creationId xmlns:p14="http://schemas.microsoft.com/office/powerpoint/2010/main" val="23970908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E1D43-2705-AF90-5D49-C25E445269CB}"/>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146F3AB7-F97E-22F0-B2CD-EE9355F8B3D3}"/>
              </a:ext>
            </a:extLst>
          </p:cNvPr>
          <p:cNvSpPr>
            <a:spLocks noGrp="1"/>
          </p:cNvSpPr>
          <p:nvPr>
            <p:ph type="sldNum" sz="quarter" idx="16"/>
          </p:nvPr>
        </p:nvSpPr>
        <p:spPr/>
        <p:txBody>
          <a:bodyPr/>
          <a:lstStyle/>
          <a:p>
            <a:fld id="{DF7F771E-9578-4C04-B869-01AF4C35C90C}" type="slidenum">
              <a:rPr lang="de-DE" smtClean="0"/>
              <a:t>38</a:t>
            </a:fld>
            <a:endParaRPr lang="de-DE"/>
          </a:p>
        </p:txBody>
      </p:sp>
      <p:pic>
        <p:nvPicPr>
          <p:cNvPr id="4" name="Grafik 3" descr="Skizze mit einfarbiger Füllung">
            <a:extLst>
              <a:ext uri="{FF2B5EF4-FFF2-40B4-BE49-F238E27FC236}">
                <a16:creationId xmlns:a16="http://schemas.microsoft.com/office/drawing/2014/main" id="{E79C851A-692D-21E0-5DA9-5F1587D71D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2342374"/>
            <a:ext cx="379044" cy="379044"/>
          </a:xfrm>
          <a:prstGeom prst="rect">
            <a:avLst/>
          </a:prstGeom>
        </p:spPr>
      </p:pic>
      <p:sp>
        <p:nvSpPr>
          <p:cNvPr id="9" name="Untertitel 3">
            <a:extLst>
              <a:ext uri="{FF2B5EF4-FFF2-40B4-BE49-F238E27FC236}">
                <a16:creationId xmlns:a16="http://schemas.microsoft.com/office/drawing/2014/main" id="{C3716B0F-24E6-0536-28D6-7AE94DEE06AD}"/>
              </a:ext>
            </a:extLst>
          </p:cNvPr>
          <p:cNvSpPr txBox="1">
            <a:spLocks/>
          </p:cNvSpPr>
          <p:nvPr/>
        </p:nvSpPr>
        <p:spPr>
          <a:xfrm>
            <a:off x="762256" y="1277938"/>
            <a:ext cx="5928271" cy="68149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Explain how the water’s movement affected the sand in your experiment. What changes did you notice, and what might these represent in a real-world environment?</a:t>
            </a:r>
            <a:endParaRPr lang="en-US" sz="1200" b="1"/>
          </a:p>
        </p:txBody>
      </p:sp>
      <p:sp>
        <p:nvSpPr>
          <p:cNvPr id="10" name="Textfeld 11">
            <a:extLst>
              <a:ext uri="{FF2B5EF4-FFF2-40B4-BE49-F238E27FC236}">
                <a16:creationId xmlns:a16="http://schemas.microsoft.com/office/drawing/2014/main" id="{53AB7B17-870F-58F2-F052-8315D8105AD8}"/>
              </a:ext>
            </a:extLst>
          </p:cNvPr>
          <p:cNvSpPr txBox="1"/>
          <p:nvPr/>
        </p:nvSpPr>
        <p:spPr>
          <a:xfrm>
            <a:off x="951778" y="1959429"/>
            <a:ext cx="5850051" cy="388213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endParaRPr lang="en-US" sz="1200" dirty="0">
              <a:solidFill>
                <a:srgbClr val="FF0000"/>
              </a:solidFill>
              <a:latin typeface="Sofia Sans" panose="020B0604020202020204" charset="0"/>
              <a:ea typeface="Times New Roman" panose="02020603050405020304" pitchFamily="18" charset="0"/>
            </a:endParaRPr>
          </a:p>
          <a:p>
            <a:pPr>
              <a:lnSpc>
                <a:spcPct val="115000"/>
              </a:lnSpc>
              <a:spcAft>
                <a:spcPts val="800"/>
              </a:spcAft>
            </a:pPr>
            <a:r>
              <a:rPr lang="en-DE" sz="1200" b="1" kern="100">
                <a:solidFill>
                  <a:srgbClr val="FF0000"/>
                </a:solidFill>
                <a:effectLst/>
                <a:latin typeface="Sofia Sans"/>
                <a:ea typeface="Aptos" panose="020B0004020202020204" pitchFamily="34" charset="0"/>
                <a:cs typeface="Times New Roman"/>
              </a:rPr>
              <a:t>Water’s Effect on Sand:</a:t>
            </a:r>
            <a:endParaRPr lang="en-DE" sz="1200" kern="100">
              <a:solidFill>
                <a:srgbClr val="FF0000"/>
              </a:solidFill>
              <a:effectLst/>
              <a:latin typeface="Sofia Sans"/>
              <a:ea typeface="Aptos" panose="020B0004020202020204" pitchFamily="34" charset="0"/>
              <a:cs typeface="Times New Roman"/>
            </a:endParaRPr>
          </a:p>
          <a:p>
            <a:pPr marL="34290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a:ea typeface="Aptos" panose="020B0004020202020204" pitchFamily="34" charset="0"/>
                <a:cs typeface="Times New Roman"/>
              </a:rPr>
              <a:t>As the water filled up behind the barrier, it created a buildup of pressure, causing the sand to become saturated and more compacted.</a:t>
            </a:r>
            <a:r>
              <a:rPr lang="en-DE" sz="1200" kern="100">
                <a:solidFill>
                  <a:srgbClr val="FF0000"/>
                </a:solidFill>
                <a:latin typeface="Sofia Sans"/>
                <a:ea typeface="Aptos" panose="020B0004020202020204" pitchFamily="34" charset="0"/>
                <a:cs typeface="Times New Roman"/>
              </a:rPr>
              <a:t> It also created a reservoir behind the ruler.</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a:ea typeface="Aptos" panose="020B0004020202020204" pitchFamily="34" charset="0"/>
                <a:cs typeface="Times New Roman"/>
              </a:rPr>
              <a:t>Once the barrier was removed, the water rushed through the opening, eroding the sand and carrying </a:t>
            </a:r>
            <a:r>
              <a:rPr lang="en-DE" sz="1200" kern="100">
                <a:solidFill>
                  <a:srgbClr val="FF0000"/>
                </a:solidFill>
                <a:latin typeface="Sofia Sans"/>
                <a:ea typeface="Aptos" panose="020B0004020202020204" pitchFamily="34" charset="0"/>
                <a:cs typeface="Times New Roman"/>
              </a:rPr>
              <a:t>a lot of it </a:t>
            </a:r>
            <a:r>
              <a:rPr lang="en-DE" sz="1200" kern="100">
                <a:solidFill>
                  <a:srgbClr val="FF0000"/>
                </a:solidFill>
                <a:effectLst/>
                <a:latin typeface="Sofia Sans"/>
                <a:ea typeface="Aptos" panose="020B0004020202020204" pitchFamily="34" charset="0"/>
                <a:cs typeface="Times New Roman"/>
              </a:rPr>
              <a:t>down the slope. The floodwater spread, moving sand and forming new channels.</a:t>
            </a:r>
          </a:p>
          <a:p>
            <a:pPr>
              <a:lnSpc>
                <a:spcPct val="115000"/>
              </a:lnSpc>
              <a:spcAft>
                <a:spcPts val="800"/>
              </a:spcAft>
            </a:pPr>
            <a:r>
              <a:rPr lang="en-DE" sz="1200" b="1" kern="100">
                <a:solidFill>
                  <a:srgbClr val="FF0000"/>
                </a:solidFill>
                <a:effectLst/>
                <a:latin typeface="Sofia Sans"/>
                <a:ea typeface="Aptos" panose="020B0004020202020204" pitchFamily="34" charset="0"/>
                <a:cs typeface="Times New Roman"/>
              </a:rPr>
              <a:t>Real-World Implications:</a:t>
            </a:r>
            <a:endParaRPr lang="en-DE" sz="1200" kern="100">
              <a:solidFill>
                <a:srgbClr val="FF0000"/>
              </a:solidFill>
              <a:effectLst/>
              <a:latin typeface="Sofia Sans"/>
              <a:ea typeface="Aptos" panose="020B0004020202020204" pitchFamily="34" charset="0"/>
              <a:cs typeface="Times New Roman"/>
            </a:endParaRPr>
          </a:p>
          <a:p>
            <a:pPr marL="342900" lvl="0" indent="-342900">
              <a:lnSpc>
                <a:spcPct val="115000"/>
              </a:lnSpc>
              <a:spcAft>
                <a:spcPts val="800"/>
              </a:spcAft>
              <a:buSzPts val="1000"/>
              <a:buFont typeface="Symbol" panose="05050102010706020507" pitchFamily="18" charset="2"/>
              <a:buChar char=""/>
              <a:tabLst>
                <a:tab pos="457200" algn="l"/>
              </a:tabLst>
            </a:pPr>
            <a:r>
              <a:rPr lang="en-DE" sz="1200" kern="100">
                <a:solidFill>
                  <a:srgbClr val="FF0000"/>
                </a:solidFill>
                <a:effectLst/>
                <a:latin typeface="Sofia Sans"/>
                <a:ea typeface="Aptos" panose="020B0004020202020204" pitchFamily="34" charset="0"/>
                <a:cs typeface="Times New Roman"/>
              </a:rPr>
              <a:t>This mimics how floods can occur when a dam or barrier breaks, causing erosion and redistributing sediment, which can change the landscape by forming new river channels or floodplains.</a:t>
            </a:r>
          </a:p>
          <a:p>
            <a:endParaRPr lang="en-US" sz="1200" dirty="0">
              <a:solidFill>
                <a:srgbClr val="FF0000"/>
              </a:solidFill>
              <a:effectLst/>
              <a:latin typeface="Sofia Sans" panose="020B0604020202020204" charset="0"/>
              <a:ea typeface="Times New Roman" panose="02020603050405020304" pitchFamily="18" charset="0"/>
            </a:endParaRPr>
          </a:p>
        </p:txBody>
      </p:sp>
    </p:spTree>
    <p:extLst>
      <p:ext uri="{BB962C8B-B14F-4D97-AF65-F5344CB8AC3E}">
        <p14:creationId xmlns:p14="http://schemas.microsoft.com/office/powerpoint/2010/main" val="3806529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FE424-78DE-49C2-D3CE-893099BE7C6F}"/>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D3F2075-DD75-14E6-6379-CDD3434FB7B9}"/>
              </a:ext>
            </a:extLst>
          </p:cNvPr>
          <p:cNvSpPr>
            <a:spLocks noGrp="1"/>
          </p:cNvSpPr>
          <p:nvPr>
            <p:ph type="sldNum" sz="quarter" idx="16"/>
          </p:nvPr>
        </p:nvSpPr>
        <p:spPr/>
        <p:txBody>
          <a:bodyPr/>
          <a:lstStyle/>
          <a:p>
            <a:fld id="{DF7F771E-9578-4C04-B869-01AF4C35C90C}" type="slidenum">
              <a:rPr lang="de-DE" smtClean="0"/>
              <a:t>39</a:t>
            </a:fld>
            <a:endParaRPr lang="de-DE"/>
          </a:p>
        </p:txBody>
      </p:sp>
      <p:sp>
        <p:nvSpPr>
          <p:cNvPr id="9" name="Rechteck 1">
            <a:extLst>
              <a:ext uri="{FF2B5EF4-FFF2-40B4-BE49-F238E27FC236}">
                <a16:creationId xmlns:a16="http://schemas.microsoft.com/office/drawing/2014/main" id="{E238DE4A-67C9-0909-8B85-E79BDB568789}"/>
              </a:ext>
            </a:extLst>
          </p:cNvPr>
          <p:cNvSpPr/>
          <p:nvPr/>
        </p:nvSpPr>
        <p:spPr>
          <a:xfrm>
            <a:off x="713895" y="1574083"/>
            <a:ext cx="5740172" cy="7639585"/>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FAADE020-EDAC-B9FF-6E95-5D91D48E5159}"/>
              </a:ext>
            </a:extLst>
          </p:cNvPr>
          <p:cNvSpPr>
            <a:spLocks noChangeAspect="1"/>
          </p:cNvSpPr>
          <p:nvPr/>
        </p:nvSpPr>
        <p:spPr>
          <a:xfrm>
            <a:off x="6123994" y="1274999"/>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D6866A35-40CA-A000-A361-23F4EB0A55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1841" y="1402846"/>
            <a:ext cx="404450" cy="404450"/>
          </a:xfrm>
          <a:prstGeom prst="rect">
            <a:avLst/>
          </a:prstGeom>
        </p:spPr>
      </p:pic>
      <p:sp>
        <p:nvSpPr>
          <p:cNvPr id="12" name="Untertitel 5">
            <a:extLst>
              <a:ext uri="{FF2B5EF4-FFF2-40B4-BE49-F238E27FC236}">
                <a16:creationId xmlns:a16="http://schemas.microsoft.com/office/drawing/2014/main" id="{311ABC86-DE80-13A7-0E47-F5B8D2AEE7F3}"/>
              </a:ext>
            </a:extLst>
          </p:cNvPr>
          <p:cNvSpPr txBox="1">
            <a:spLocks/>
          </p:cNvSpPr>
          <p:nvPr/>
        </p:nvSpPr>
        <p:spPr>
          <a:xfrm>
            <a:off x="713895" y="167755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8FAAE30C-9FFB-457B-1BC8-61F8F322770C}"/>
              </a:ext>
            </a:extLst>
          </p:cNvPr>
          <p:cNvSpPr>
            <a:spLocks noGrp="1"/>
          </p:cNvSpPr>
          <p:nvPr>
            <p:ph type="subTitle" idx="1"/>
          </p:nvPr>
        </p:nvSpPr>
        <p:spPr>
          <a:xfrm>
            <a:off x="969862" y="2553770"/>
            <a:ext cx="5281980" cy="2914365"/>
          </a:xfrm>
        </p:spPr>
        <p:txBody>
          <a:bodyPr/>
          <a:lstStyle/>
          <a:p>
            <a:pPr>
              <a:buFont typeface="Arial" panose="020B0604020202020204" pitchFamily="34" charset="0"/>
              <a:buChar char="•"/>
            </a:pPr>
            <a:endParaRPr lang="en-US" sz="1150"/>
          </a:p>
          <a:p>
            <a:pPr>
              <a:buFont typeface="Arial" panose="020B0604020202020204" pitchFamily="34" charset="0"/>
              <a:buChar char="•"/>
            </a:pPr>
            <a:endParaRPr lang="en-US"/>
          </a:p>
          <a:p>
            <a:pPr>
              <a:buFont typeface="Arial" panose="020B0604020202020204" pitchFamily="34" charset="0"/>
              <a:buChar char="•"/>
            </a:pPr>
            <a:endParaRPr lang="en-US"/>
          </a:p>
        </p:txBody>
      </p:sp>
      <p:sp>
        <p:nvSpPr>
          <p:cNvPr id="2" name="Untertitel 2">
            <a:extLst>
              <a:ext uri="{FF2B5EF4-FFF2-40B4-BE49-F238E27FC236}">
                <a16:creationId xmlns:a16="http://schemas.microsoft.com/office/drawing/2014/main" id="{959EF368-2861-C9A5-03BF-8220544116AA}"/>
              </a:ext>
            </a:extLst>
          </p:cNvPr>
          <p:cNvSpPr txBox="1">
            <a:spLocks/>
          </p:cNvSpPr>
          <p:nvPr/>
        </p:nvSpPr>
        <p:spPr>
          <a:xfrm>
            <a:off x="844943" y="2036415"/>
            <a:ext cx="5281980" cy="633227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buClr>
                <a:schemeClr val="accent5"/>
              </a:buClr>
              <a:buSzPct val="121000"/>
            </a:pPr>
            <a:r>
              <a:rPr lang="de-DE" sz="1200" b="1" err="1"/>
              <a:t>Silting</a:t>
            </a:r>
            <a:endParaRPr lang="de-DE" sz="1200" b="1"/>
          </a:p>
          <a:p>
            <a:endParaRPr lang="de-DE" sz="1200" b="1"/>
          </a:p>
          <a:p>
            <a:pPr marL="139700" indent="0"/>
            <a:r>
              <a:rPr lang="de-DE" sz="1200" b="1" err="1"/>
              <a:t>Concern</a:t>
            </a:r>
            <a:r>
              <a:rPr lang="de-DE" sz="1200"/>
              <a:t>: Dams </a:t>
            </a:r>
            <a:r>
              <a:rPr lang="de-DE" sz="1200" err="1"/>
              <a:t>retain</a:t>
            </a:r>
            <a:r>
              <a:rPr lang="de-DE" sz="1200"/>
              <a:t> </a:t>
            </a:r>
            <a:r>
              <a:rPr lang="de-DE" sz="1200" err="1"/>
              <a:t>sediment</a:t>
            </a:r>
            <a:r>
              <a:rPr lang="de-DE" sz="1200"/>
              <a:t> (</a:t>
            </a:r>
            <a:r>
              <a:rPr lang="de-DE" sz="1200" err="1"/>
              <a:t>dirt</a:t>
            </a:r>
            <a:r>
              <a:rPr lang="de-DE" sz="1200"/>
              <a:t> and </a:t>
            </a:r>
            <a:r>
              <a:rPr lang="de-DE" sz="1200" err="1"/>
              <a:t>sand</a:t>
            </a:r>
            <a:r>
              <a:rPr lang="de-DE" sz="1200"/>
              <a:t>) </a:t>
            </a:r>
            <a:r>
              <a:rPr lang="de-DE" sz="1200" err="1"/>
              <a:t>that</a:t>
            </a:r>
            <a:r>
              <a:rPr lang="de-DE" sz="1200"/>
              <a:t> </a:t>
            </a:r>
            <a:r>
              <a:rPr lang="de-DE" sz="1200" err="1"/>
              <a:t>would</a:t>
            </a:r>
            <a:r>
              <a:rPr lang="de-DE" sz="1200"/>
              <a:t> </a:t>
            </a:r>
            <a:r>
              <a:rPr lang="de-DE" sz="1200" err="1"/>
              <a:t>normally</a:t>
            </a:r>
            <a:r>
              <a:rPr lang="de-DE" sz="1200"/>
              <a:t> </a:t>
            </a:r>
            <a:r>
              <a:rPr lang="de-DE" sz="1200" err="1"/>
              <a:t>flow</a:t>
            </a:r>
            <a:r>
              <a:rPr lang="de-DE" sz="1200"/>
              <a:t> </a:t>
            </a:r>
            <a:r>
              <a:rPr lang="de-DE" sz="1200" err="1"/>
              <a:t>downstream</a:t>
            </a:r>
            <a:r>
              <a:rPr lang="de-DE" sz="1200"/>
              <a:t>. These </a:t>
            </a:r>
            <a:r>
              <a:rPr lang="de-DE" sz="1200" err="1"/>
              <a:t>sediment</a:t>
            </a:r>
            <a:r>
              <a:rPr lang="de-DE" sz="1200"/>
              <a:t> </a:t>
            </a:r>
            <a:r>
              <a:rPr lang="de-DE" sz="1200" err="1"/>
              <a:t>deposits</a:t>
            </a:r>
            <a:r>
              <a:rPr lang="de-DE" sz="1200"/>
              <a:t> </a:t>
            </a:r>
            <a:r>
              <a:rPr lang="de-DE" sz="1200" err="1"/>
              <a:t>behind</a:t>
            </a:r>
            <a:r>
              <a:rPr lang="de-DE" sz="1200"/>
              <a:t> </a:t>
            </a:r>
            <a:r>
              <a:rPr lang="de-DE" sz="1200" err="1"/>
              <a:t>the</a:t>
            </a:r>
            <a:r>
              <a:rPr lang="de-DE" sz="1200"/>
              <a:t> </a:t>
            </a:r>
            <a:r>
              <a:rPr lang="de-DE" sz="1200" err="1"/>
              <a:t>dam</a:t>
            </a:r>
            <a:r>
              <a:rPr lang="de-DE" sz="1200"/>
              <a:t> </a:t>
            </a:r>
            <a:r>
              <a:rPr lang="de-DE" sz="1200" err="1"/>
              <a:t>can</a:t>
            </a:r>
            <a:r>
              <a:rPr lang="de-DE" sz="1200"/>
              <a:t> </a:t>
            </a:r>
            <a:r>
              <a:rPr lang="de-DE" sz="1200" err="1"/>
              <a:t>reduce</a:t>
            </a:r>
            <a:r>
              <a:rPr lang="de-DE" sz="1200"/>
              <a:t> </a:t>
            </a:r>
            <a:r>
              <a:rPr lang="de-DE" sz="1200" err="1"/>
              <a:t>the</a:t>
            </a:r>
            <a:r>
              <a:rPr lang="de-DE" sz="1200"/>
              <a:t> </a:t>
            </a:r>
            <a:r>
              <a:rPr lang="de-DE" sz="1200" err="1"/>
              <a:t>capacity</a:t>
            </a:r>
            <a:r>
              <a:rPr lang="de-DE" sz="1200"/>
              <a:t> </a:t>
            </a:r>
            <a:r>
              <a:rPr lang="de-DE" sz="1200" err="1"/>
              <a:t>of</a:t>
            </a:r>
            <a:r>
              <a:rPr lang="de-DE" sz="1200"/>
              <a:t> </a:t>
            </a:r>
            <a:r>
              <a:rPr lang="de-DE" sz="1200" err="1"/>
              <a:t>the</a:t>
            </a:r>
            <a:r>
              <a:rPr lang="de-DE" sz="1200"/>
              <a:t> </a:t>
            </a:r>
            <a:r>
              <a:rPr lang="de-DE" sz="1200" err="1"/>
              <a:t>reservoir</a:t>
            </a:r>
            <a:r>
              <a:rPr lang="de-DE" sz="1200"/>
              <a:t> and </a:t>
            </a:r>
            <a:r>
              <a:rPr lang="de-DE" sz="1200" err="1"/>
              <a:t>affect</a:t>
            </a:r>
            <a:r>
              <a:rPr lang="de-DE" sz="1200"/>
              <a:t> </a:t>
            </a:r>
            <a:r>
              <a:rPr lang="de-DE" sz="1200" err="1"/>
              <a:t>water</a:t>
            </a:r>
            <a:r>
              <a:rPr lang="de-DE" sz="1200"/>
              <a:t> </a:t>
            </a:r>
            <a:r>
              <a:rPr lang="de-DE" sz="1200" err="1"/>
              <a:t>quality</a:t>
            </a:r>
            <a:r>
              <a:rPr lang="de-DE" sz="1200"/>
              <a:t>.</a:t>
            </a:r>
          </a:p>
          <a:p>
            <a:pPr marL="139700" indent="0"/>
            <a:endParaRPr lang="de-DE" sz="1200"/>
          </a:p>
          <a:p>
            <a:pPr marL="139700" indent="0"/>
            <a:r>
              <a:rPr lang="de-DE" sz="1200" b="1"/>
              <a:t>Impact</a:t>
            </a:r>
            <a:r>
              <a:rPr lang="de-DE" sz="1200"/>
              <a:t>: </a:t>
            </a:r>
            <a:r>
              <a:rPr lang="en-US" sz="1200"/>
              <a:t>The lack of sediment downstream can reduce soil fertility for agriculture and harm ecosystems that depend on the natural flow of nutrient</a:t>
            </a:r>
            <a:r>
              <a:rPr lang="de-DE" sz="1200"/>
              <a:t>s.</a:t>
            </a:r>
          </a:p>
          <a:p>
            <a:endParaRPr lang="de-DE" sz="1200"/>
          </a:p>
          <a:p>
            <a:pPr marL="0" indent="0">
              <a:buClr>
                <a:schemeClr val="accent5"/>
              </a:buClr>
              <a:buSzPct val="121000"/>
            </a:pPr>
            <a:r>
              <a:rPr lang="de-DE" sz="1200" b="1" err="1"/>
              <a:t>Waterway</a:t>
            </a:r>
            <a:r>
              <a:rPr lang="de-DE" sz="1200" b="1"/>
              <a:t> </a:t>
            </a:r>
            <a:r>
              <a:rPr lang="de-DE" sz="1200" b="1" err="1"/>
              <a:t>Obstruction</a:t>
            </a:r>
            <a:r>
              <a:rPr lang="de-DE" sz="1200" b="1"/>
              <a:t> </a:t>
            </a:r>
          </a:p>
          <a:p>
            <a:endParaRPr lang="de-DE" sz="1200" b="1"/>
          </a:p>
          <a:p>
            <a:pPr marL="139700" indent="0"/>
            <a:r>
              <a:rPr lang="de-DE" sz="1200" b="1" err="1"/>
              <a:t>Concern</a:t>
            </a:r>
            <a:r>
              <a:rPr lang="de-DE" sz="1200"/>
              <a:t>: </a:t>
            </a:r>
            <a:r>
              <a:rPr lang="en-US" sz="1200"/>
              <a:t>Dams block the natural flow of rivers, preventing fish and other aquatic animals from migrating to spawn or move to different areas.</a:t>
            </a:r>
          </a:p>
          <a:p>
            <a:pPr marL="139700" indent="0"/>
            <a:endParaRPr lang="en-US" sz="1200"/>
          </a:p>
          <a:p>
            <a:pPr marL="139700" indent="0"/>
            <a:r>
              <a:rPr lang="de-DE" sz="1200" b="1"/>
              <a:t>Impact</a:t>
            </a:r>
            <a:r>
              <a:rPr lang="de-DE" sz="1200"/>
              <a:t>: </a:t>
            </a:r>
            <a:r>
              <a:rPr lang="en-US" sz="1200"/>
              <a:t>This obstruction can harm fish populations (like salmon), disrupt ecosystems, and reduce biodiversity in both the river and the surrounding areas.</a:t>
            </a:r>
            <a:endParaRPr lang="de-DE" sz="1200"/>
          </a:p>
          <a:p>
            <a:pPr marL="139700" indent="0"/>
            <a:endParaRPr lang="en-US" sz="1200"/>
          </a:p>
          <a:p>
            <a:pPr marL="0" indent="0">
              <a:buClr>
                <a:schemeClr val="accent5"/>
              </a:buClr>
              <a:buSzPct val="121000"/>
            </a:pPr>
            <a:r>
              <a:rPr lang="en-US" sz="1200" b="1"/>
              <a:t>Flooding</a:t>
            </a:r>
            <a:r>
              <a:rPr lang="en-US" sz="1200"/>
              <a:t> </a:t>
            </a:r>
          </a:p>
          <a:p>
            <a:pPr marL="139700" indent="0"/>
            <a:endParaRPr lang="en-US" sz="1200"/>
          </a:p>
          <a:p>
            <a:pPr marL="139700" indent="0"/>
            <a:r>
              <a:rPr lang="en-US" sz="1200" b="1"/>
              <a:t>Concern</a:t>
            </a:r>
            <a:r>
              <a:rPr lang="en-US" sz="1200"/>
              <a:t>: Building a dam often causes large areas upstream to be flooded, which can destroy ecosystems, forests, and animal habitats.</a:t>
            </a:r>
          </a:p>
          <a:p>
            <a:pPr marL="139700" indent="0"/>
            <a:r>
              <a:rPr lang="en-US" sz="1200"/>
              <a:t>When there is too much water in the reservoir, all channels of the dam must be opened to release the pressure. As a result, flooding can also occur downstream.</a:t>
            </a:r>
          </a:p>
          <a:p>
            <a:pPr marL="139700" indent="0"/>
            <a:endParaRPr lang="en-US" sz="1200"/>
          </a:p>
          <a:p>
            <a:pPr marL="139700" indent="0"/>
            <a:r>
              <a:rPr lang="en-US" sz="1200" b="1"/>
              <a:t>Impact</a:t>
            </a:r>
            <a:r>
              <a:rPr lang="en-US" sz="1200"/>
              <a:t>: Flooding can displace local communities, drown wildlife habitats and disrupt the natural balance of the surrounding environment, leading to long-term ecological damage.</a:t>
            </a:r>
          </a:p>
          <a:p>
            <a:endParaRPr lang="en-US" sz="1200"/>
          </a:p>
          <a:p>
            <a:pPr marL="139700" indent="0"/>
            <a:r>
              <a:rPr lang="en-US" sz="1200"/>
              <a:t>A dam causes targeted flooding by moving the river that feeds the reservoir upstream!</a:t>
            </a:r>
          </a:p>
        </p:txBody>
      </p:sp>
      <p:pic>
        <p:nvPicPr>
          <p:cNvPr id="3" name="Grafik 2" descr="Ein Bild, das Muster, Quadrat, Pixel, Kreuzworträtsel enthält.&#10;&#10;KI-generierte Inhalte können fehlerhaft sein.">
            <a:extLst>
              <a:ext uri="{FF2B5EF4-FFF2-40B4-BE49-F238E27FC236}">
                <a16:creationId xmlns:a16="http://schemas.microsoft.com/office/drawing/2014/main" id="{ADBC381A-9050-2A30-E484-F62666B79C21}"/>
              </a:ext>
            </a:extLst>
          </p:cNvPr>
          <p:cNvPicPr>
            <a:picLocks noChangeAspect="1"/>
          </p:cNvPicPr>
          <p:nvPr/>
        </p:nvPicPr>
        <p:blipFill>
          <a:blip r:embed="rId4"/>
          <a:stretch>
            <a:fillRect/>
          </a:stretch>
        </p:blipFill>
        <p:spPr>
          <a:xfrm>
            <a:off x="1932287" y="9467521"/>
            <a:ext cx="799115" cy="799192"/>
          </a:xfrm>
          <a:prstGeom prst="rect">
            <a:avLst/>
          </a:prstGeom>
        </p:spPr>
      </p:pic>
      <p:pic>
        <p:nvPicPr>
          <p:cNvPr id="4" name="Grafik 3" descr="Ein Bild, das Muster, Pixel, nähen enthält.&#10;&#10;KI-generierte Inhalte können fehlerhaft sein.">
            <a:extLst>
              <a:ext uri="{FF2B5EF4-FFF2-40B4-BE49-F238E27FC236}">
                <a16:creationId xmlns:a16="http://schemas.microsoft.com/office/drawing/2014/main" id="{CD2A420D-41ED-1C27-B29B-B71427808525}"/>
              </a:ext>
            </a:extLst>
          </p:cNvPr>
          <p:cNvPicPr>
            <a:picLocks noChangeAspect="1"/>
          </p:cNvPicPr>
          <p:nvPr/>
        </p:nvPicPr>
        <p:blipFill>
          <a:blip r:embed="rId5"/>
          <a:stretch>
            <a:fillRect/>
          </a:stretch>
        </p:blipFill>
        <p:spPr>
          <a:xfrm>
            <a:off x="4758601" y="9462797"/>
            <a:ext cx="799115" cy="799192"/>
          </a:xfrm>
          <a:prstGeom prst="rect">
            <a:avLst/>
          </a:prstGeom>
        </p:spPr>
      </p:pic>
      <p:pic>
        <p:nvPicPr>
          <p:cNvPr id="5" name="Grafik 4" descr="Ein Bild, das Muster, Quadrat, Pixel, Design enthält.&#10;&#10;KI-generierte Inhalte können fehlerhaft sein.">
            <a:extLst>
              <a:ext uri="{FF2B5EF4-FFF2-40B4-BE49-F238E27FC236}">
                <a16:creationId xmlns:a16="http://schemas.microsoft.com/office/drawing/2014/main" id="{A1A73129-EF1D-60D8-B4BF-0C981E6C38C6}"/>
              </a:ext>
            </a:extLst>
          </p:cNvPr>
          <p:cNvPicPr>
            <a:picLocks noChangeAspect="1"/>
          </p:cNvPicPr>
          <p:nvPr/>
        </p:nvPicPr>
        <p:blipFill>
          <a:blip r:embed="rId6"/>
          <a:stretch>
            <a:fillRect/>
          </a:stretch>
        </p:blipFill>
        <p:spPr>
          <a:xfrm>
            <a:off x="3345444" y="9462797"/>
            <a:ext cx="799115" cy="799192"/>
          </a:xfrm>
          <a:prstGeom prst="rect">
            <a:avLst/>
          </a:prstGeom>
        </p:spPr>
      </p:pic>
    </p:spTree>
    <p:extLst>
      <p:ext uri="{BB962C8B-B14F-4D97-AF65-F5344CB8AC3E}">
        <p14:creationId xmlns:p14="http://schemas.microsoft.com/office/powerpoint/2010/main" val="3795676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5" name="Google Shape;345;p26"/>
          <p:cNvSpPr txBox="1">
            <a:spLocks noGrp="1"/>
          </p:cNvSpPr>
          <p:nvPr>
            <p:ph type="title"/>
          </p:nvPr>
        </p:nvSpPr>
        <p:spPr>
          <a:xfrm>
            <a:off x="719138" y="1310194"/>
            <a:ext cx="6354015" cy="473472"/>
          </a:xfrm>
          <a:prstGeom prst="rect">
            <a:avLst/>
          </a:prstGeom>
        </p:spPr>
        <p:txBody>
          <a:bodyPr spcFirstLastPara="1" wrap="square" lIns="75584" tIns="75584" rIns="75584" bIns="75584" anchor="t" anchorCtr="0">
            <a:noAutofit/>
          </a:bodyPr>
          <a:lstStyle/>
          <a:p>
            <a:r>
              <a:rPr lang="es-CO">
                <a:solidFill>
                  <a:srgbClr val="3B5775"/>
                </a:solidFill>
              </a:rPr>
              <a:t>Table of Contents</a:t>
            </a:r>
          </a:p>
        </p:txBody>
      </p:sp>
      <p:sp>
        <p:nvSpPr>
          <p:cNvPr id="45" name="Google Shape;343;p26">
            <a:extLst>
              <a:ext uri="{FF2B5EF4-FFF2-40B4-BE49-F238E27FC236}">
                <a16:creationId xmlns:a16="http://schemas.microsoft.com/office/drawing/2014/main" id="{FDA57636-E66E-F394-3E03-5D03159A3A34}"/>
              </a:ext>
            </a:extLst>
          </p:cNvPr>
          <p:cNvSpPr txBox="1">
            <a:spLocks/>
          </p:cNvSpPr>
          <p:nvPr/>
        </p:nvSpPr>
        <p:spPr>
          <a:xfrm>
            <a:off x="734296" y="3189297"/>
            <a:ext cx="5569521" cy="1940205"/>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a:t>Chapter 1 – </a:t>
            </a:r>
            <a:r>
              <a:rPr lang="de-DE" err="1"/>
              <a:t>Hydro</a:t>
            </a:r>
            <a:r>
              <a:rPr lang="de-DE"/>
              <a:t> Energy Basics</a:t>
            </a:r>
          </a:p>
          <a:p>
            <a:pPr marL="342900" indent="-342900">
              <a:buClr>
                <a:schemeClr val="accent5">
                  <a:lumMod val="75000"/>
                </a:schemeClr>
              </a:buClr>
              <a:buFont typeface="+mj-lt"/>
              <a:buAutoNum type="arabicPeriod"/>
            </a:pPr>
            <a:r>
              <a:rPr lang="en-US" b="0"/>
              <a:t>Where is Hydro-Energy found? </a:t>
            </a:r>
          </a:p>
          <a:p>
            <a:pPr marL="342900" indent="-342900">
              <a:buClr>
                <a:schemeClr val="accent5">
                  <a:lumMod val="75000"/>
                </a:schemeClr>
              </a:buClr>
              <a:buFont typeface="+mj-lt"/>
              <a:buAutoNum type="arabicPeriod"/>
            </a:pPr>
            <a:r>
              <a:rPr lang="en-US" b="0"/>
              <a:t>Rivers</a:t>
            </a:r>
          </a:p>
          <a:p>
            <a:pPr marL="342900" indent="-342900">
              <a:buClr>
                <a:schemeClr val="accent5">
                  <a:lumMod val="75000"/>
                </a:schemeClr>
              </a:buClr>
              <a:buFont typeface="+mj-lt"/>
              <a:buAutoNum type="arabicPeriod"/>
            </a:pPr>
            <a:r>
              <a:rPr lang="en-US" b="0"/>
              <a:t>Oceans</a:t>
            </a:r>
          </a:p>
          <a:p>
            <a:pPr marL="342900" indent="-342900">
              <a:buClr>
                <a:schemeClr val="accent5">
                  <a:lumMod val="75000"/>
                </a:schemeClr>
              </a:buClr>
              <a:buFont typeface="+mj-lt"/>
              <a:buAutoNum type="arabicPeriod"/>
            </a:pPr>
            <a:r>
              <a:rPr lang="en-US" b="0"/>
              <a:t>Mountain regions</a:t>
            </a:r>
          </a:p>
          <a:p>
            <a:pPr marL="342900" indent="-342900">
              <a:buClr>
                <a:schemeClr val="accent5">
                  <a:lumMod val="75000"/>
                </a:schemeClr>
              </a:buClr>
              <a:buFont typeface="+mj-lt"/>
              <a:buAutoNum type="arabicPeriod"/>
            </a:pPr>
            <a:r>
              <a:rPr lang="en-US" b="0"/>
              <a:t>Catchment Area, River Basin and environmental impacts</a:t>
            </a:r>
          </a:p>
          <a:p>
            <a:pPr marL="342900" indent="-342900">
              <a:buClr>
                <a:schemeClr val="accent5">
                  <a:lumMod val="75000"/>
                </a:schemeClr>
              </a:buClr>
              <a:buFont typeface="+mj-lt"/>
              <a:buAutoNum type="arabicPeriod"/>
            </a:pPr>
            <a:r>
              <a:rPr lang="en-US" b="0"/>
              <a:t>Environmental impact’s Game</a:t>
            </a:r>
            <a:endParaRPr lang="de-DE"/>
          </a:p>
        </p:txBody>
      </p:sp>
      <p:sp>
        <p:nvSpPr>
          <p:cNvPr id="46" name="Google Shape;343;p26">
            <a:extLst>
              <a:ext uri="{FF2B5EF4-FFF2-40B4-BE49-F238E27FC236}">
                <a16:creationId xmlns:a16="http://schemas.microsoft.com/office/drawing/2014/main" id="{F6B188DC-BF5C-308F-1AE9-E8223B2A5A1D}"/>
              </a:ext>
            </a:extLst>
          </p:cNvPr>
          <p:cNvSpPr txBox="1">
            <a:spLocks/>
          </p:cNvSpPr>
          <p:nvPr/>
        </p:nvSpPr>
        <p:spPr>
          <a:xfrm>
            <a:off x="6488379" y="3370226"/>
            <a:ext cx="476045" cy="204775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10</a:t>
            </a:r>
          </a:p>
          <a:p>
            <a:pPr marL="0" indent="0"/>
            <a:r>
              <a:rPr lang="de-DE" b="0"/>
              <a:t>16</a:t>
            </a:r>
          </a:p>
          <a:p>
            <a:pPr marL="0" indent="0"/>
            <a:r>
              <a:rPr lang="de-DE" b="0"/>
              <a:t>21</a:t>
            </a:r>
          </a:p>
          <a:p>
            <a:pPr marL="0" indent="0"/>
            <a:r>
              <a:rPr lang="de-DE" b="0"/>
              <a:t>23</a:t>
            </a:r>
          </a:p>
          <a:p>
            <a:pPr marL="0" indent="0"/>
            <a:r>
              <a:rPr lang="de-DE" b="0"/>
              <a:t>26</a:t>
            </a:r>
          </a:p>
          <a:p>
            <a:pPr marL="0" indent="0"/>
            <a:r>
              <a:rPr lang="de-DE" b="0"/>
              <a:t>29</a:t>
            </a:r>
          </a:p>
          <a:p>
            <a:pPr marL="0" indent="0"/>
            <a:endParaRPr lang="de-DE" b="0"/>
          </a:p>
          <a:p>
            <a:pPr marL="0" indent="0"/>
            <a:endParaRPr lang="de-DE" b="0"/>
          </a:p>
        </p:txBody>
      </p:sp>
      <p:sp>
        <p:nvSpPr>
          <p:cNvPr id="49" name="Google Shape;343;p26">
            <a:extLst>
              <a:ext uri="{FF2B5EF4-FFF2-40B4-BE49-F238E27FC236}">
                <a16:creationId xmlns:a16="http://schemas.microsoft.com/office/drawing/2014/main" id="{82127627-34E5-8BD9-1F2B-D74DDC96773B}"/>
              </a:ext>
            </a:extLst>
          </p:cNvPr>
          <p:cNvSpPr txBox="1">
            <a:spLocks/>
          </p:cNvSpPr>
          <p:nvPr/>
        </p:nvSpPr>
        <p:spPr>
          <a:xfrm>
            <a:off x="719136" y="1987966"/>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Why</a:t>
            </a:r>
            <a:r>
              <a:rPr lang="de-DE"/>
              <a:t> </a:t>
            </a:r>
            <a:r>
              <a:rPr lang="de-DE" err="1"/>
              <a:t>is</a:t>
            </a:r>
            <a:r>
              <a:rPr lang="de-DE"/>
              <a:t> Hydro-Energy </a:t>
            </a:r>
            <a:r>
              <a:rPr lang="de-DE" err="1"/>
              <a:t>important</a:t>
            </a:r>
            <a:r>
              <a:rPr lang="de-DE"/>
              <a:t>?</a:t>
            </a:r>
          </a:p>
        </p:txBody>
      </p:sp>
      <p:sp>
        <p:nvSpPr>
          <p:cNvPr id="50" name="Google Shape;343;p26">
            <a:extLst>
              <a:ext uri="{FF2B5EF4-FFF2-40B4-BE49-F238E27FC236}">
                <a16:creationId xmlns:a16="http://schemas.microsoft.com/office/drawing/2014/main" id="{B1E9342D-20C5-A7BB-6B01-D3B48DE03065}"/>
              </a:ext>
            </a:extLst>
          </p:cNvPr>
          <p:cNvSpPr txBox="1">
            <a:spLocks/>
          </p:cNvSpPr>
          <p:nvPr/>
        </p:nvSpPr>
        <p:spPr>
          <a:xfrm>
            <a:off x="6553200" y="1987966"/>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5</a:t>
            </a:r>
          </a:p>
        </p:txBody>
      </p:sp>
      <p:sp>
        <p:nvSpPr>
          <p:cNvPr id="2" name="Google Shape;343;p26">
            <a:extLst>
              <a:ext uri="{FF2B5EF4-FFF2-40B4-BE49-F238E27FC236}">
                <a16:creationId xmlns:a16="http://schemas.microsoft.com/office/drawing/2014/main" id="{78EF8FC4-C080-D74B-FA0A-DAA361DC6682}"/>
              </a:ext>
            </a:extLst>
          </p:cNvPr>
          <p:cNvSpPr txBox="1">
            <a:spLocks/>
          </p:cNvSpPr>
          <p:nvPr/>
        </p:nvSpPr>
        <p:spPr>
          <a:xfrm>
            <a:off x="719138" y="2652514"/>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Definitions</a:t>
            </a:r>
            <a:endParaRPr lang="de-DE"/>
          </a:p>
        </p:txBody>
      </p:sp>
      <p:sp>
        <p:nvSpPr>
          <p:cNvPr id="3" name="Google Shape;343;p26">
            <a:extLst>
              <a:ext uri="{FF2B5EF4-FFF2-40B4-BE49-F238E27FC236}">
                <a16:creationId xmlns:a16="http://schemas.microsoft.com/office/drawing/2014/main" id="{76F9D1EE-0C21-10A1-E052-258283432ED0}"/>
              </a:ext>
            </a:extLst>
          </p:cNvPr>
          <p:cNvSpPr txBox="1">
            <a:spLocks/>
          </p:cNvSpPr>
          <p:nvPr/>
        </p:nvSpPr>
        <p:spPr>
          <a:xfrm>
            <a:off x="6553202" y="2652514"/>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7</a:t>
            </a:r>
          </a:p>
          <a:p>
            <a:pPr marL="0" indent="0"/>
            <a:endParaRPr lang="de-DE" b="0"/>
          </a:p>
        </p:txBody>
      </p:sp>
      <p:sp>
        <p:nvSpPr>
          <p:cNvPr id="4" name="Google Shape;343;p26">
            <a:extLst>
              <a:ext uri="{FF2B5EF4-FFF2-40B4-BE49-F238E27FC236}">
                <a16:creationId xmlns:a16="http://schemas.microsoft.com/office/drawing/2014/main" id="{3922233B-51E3-1E06-D4C1-20C3AFB0CF02}"/>
              </a:ext>
            </a:extLst>
          </p:cNvPr>
          <p:cNvSpPr txBox="1">
            <a:spLocks/>
          </p:cNvSpPr>
          <p:nvPr/>
        </p:nvSpPr>
        <p:spPr>
          <a:xfrm>
            <a:off x="734295" y="5260037"/>
            <a:ext cx="5569521" cy="895998"/>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a:t>Chapter 2 – Different Turbine Types</a:t>
            </a:r>
          </a:p>
          <a:p>
            <a:pPr marL="342900" indent="-342900">
              <a:buClr>
                <a:schemeClr val="accent5">
                  <a:lumMod val="75000"/>
                </a:schemeClr>
              </a:buClr>
              <a:buFont typeface="+mj-lt"/>
              <a:buAutoNum type="arabicPeriod"/>
            </a:pPr>
            <a:r>
              <a:rPr lang="en-US" b="0"/>
              <a:t>Build your own Water Wheel!</a:t>
            </a:r>
          </a:p>
          <a:p>
            <a:pPr marL="342900" indent="-342900">
              <a:buClr>
                <a:schemeClr val="accent5">
                  <a:lumMod val="75000"/>
                </a:schemeClr>
              </a:buClr>
              <a:buFont typeface="+mj-lt"/>
              <a:buAutoNum type="arabicPeriod"/>
            </a:pPr>
            <a:r>
              <a:rPr lang="en-US" b="0"/>
              <a:t>Turbine types in Hydro Power and their specific applications </a:t>
            </a:r>
          </a:p>
          <a:p>
            <a:pPr marL="0" indent="0">
              <a:buClr>
                <a:schemeClr val="accent5">
                  <a:lumMod val="75000"/>
                </a:schemeClr>
              </a:buClr>
            </a:pPr>
            <a:endParaRPr lang="en-US" b="0"/>
          </a:p>
        </p:txBody>
      </p:sp>
      <p:sp>
        <p:nvSpPr>
          <p:cNvPr id="5" name="Google Shape;343;p26">
            <a:extLst>
              <a:ext uri="{FF2B5EF4-FFF2-40B4-BE49-F238E27FC236}">
                <a16:creationId xmlns:a16="http://schemas.microsoft.com/office/drawing/2014/main" id="{0503B9CA-E92E-7610-1003-61107FE4258D}"/>
              </a:ext>
            </a:extLst>
          </p:cNvPr>
          <p:cNvSpPr txBox="1">
            <a:spLocks/>
          </p:cNvSpPr>
          <p:nvPr/>
        </p:nvSpPr>
        <p:spPr>
          <a:xfrm>
            <a:off x="6488379" y="5416584"/>
            <a:ext cx="476045" cy="637050"/>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39</a:t>
            </a:r>
          </a:p>
          <a:p>
            <a:pPr marL="0" indent="0"/>
            <a:r>
              <a:rPr lang="de-DE" b="0"/>
              <a:t>45</a:t>
            </a:r>
          </a:p>
          <a:p>
            <a:pPr marL="0" indent="0"/>
            <a:endParaRPr lang="de-DE" b="0"/>
          </a:p>
          <a:p>
            <a:pPr marL="0" indent="0"/>
            <a:endParaRPr lang="de-DE" b="0"/>
          </a:p>
          <a:p>
            <a:pPr marL="0" indent="0"/>
            <a:endParaRPr lang="de-DE" b="0"/>
          </a:p>
        </p:txBody>
      </p:sp>
      <p:sp>
        <p:nvSpPr>
          <p:cNvPr id="6" name="Google Shape;343;p26">
            <a:extLst>
              <a:ext uri="{FF2B5EF4-FFF2-40B4-BE49-F238E27FC236}">
                <a16:creationId xmlns:a16="http://schemas.microsoft.com/office/drawing/2014/main" id="{C49B1F72-4605-0E42-E766-FBC9C7C589D2}"/>
              </a:ext>
            </a:extLst>
          </p:cNvPr>
          <p:cNvSpPr txBox="1">
            <a:spLocks/>
          </p:cNvSpPr>
          <p:nvPr/>
        </p:nvSpPr>
        <p:spPr>
          <a:xfrm>
            <a:off x="703979" y="7586335"/>
            <a:ext cx="5584681" cy="136313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a:t> </a:t>
            </a:r>
          </a:p>
          <a:p>
            <a:pPr marL="342900" indent="-342900">
              <a:buClr>
                <a:schemeClr val="accent5">
                  <a:lumMod val="75000"/>
                </a:schemeClr>
              </a:buClr>
              <a:buFont typeface="+mj-lt"/>
              <a:buAutoNum type="arabicPeriod"/>
            </a:pPr>
            <a:endParaRPr lang="en-US" b="0"/>
          </a:p>
          <a:p>
            <a:pPr marL="0" indent="0">
              <a:buClr>
                <a:schemeClr val="accent5">
                  <a:lumMod val="75000"/>
                </a:schemeClr>
              </a:buClr>
            </a:pPr>
            <a:endParaRPr lang="en-US" b="0"/>
          </a:p>
        </p:txBody>
      </p:sp>
      <p:sp>
        <p:nvSpPr>
          <p:cNvPr id="8" name="Google Shape;343;p26">
            <a:extLst>
              <a:ext uri="{FF2B5EF4-FFF2-40B4-BE49-F238E27FC236}">
                <a16:creationId xmlns:a16="http://schemas.microsoft.com/office/drawing/2014/main" id="{D72CF44A-2DD0-C231-EC1F-7023F9CCBC2D}"/>
              </a:ext>
            </a:extLst>
          </p:cNvPr>
          <p:cNvSpPr txBox="1">
            <a:spLocks/>
          </p:cNvSpPr>
          <p:nvPr/>
        </p:nvSpPr>
        <p:spPr>
          <a:xfrm>
            <a:off x="734296" y="8401123"/>
            <a:ext cx="5569521" cy="136313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US" noProof="0"/>
              <a:t>Chapter 4 – Concepts of Grid and Combining DERs</a:t>
            </a:r>
          </a:p>
          <a:p>
            <a:pPr marL="342900" indent="-342900">
              <a:buClr>
                <a:schemeClr val="accent5"/>
              </a:buClr>
              <a:buFont typeface="+mj-lt"/>
              <a:buAutoNum type="arabicPeriod"/>
            </a:pPr>
            <a:r>
              <a:rPr lang="en-US" b="0" noProof="0"/>
              <a:t>Baseload &amp; Reliability Order of Renewable Energies</a:t>
            </a:r>
          </a:p>
          <a:p>
            <a:pPr marL="342900" indent="-342900">
              <a:buClr>
                <a:schemeClr val="accent5"/>
              </a:buClr>
              <a:buFont typeface="+mj-lt"/>
              <a:buAutoNum type="arabicPeriod"/>
            </a:pPr>
            <a:r>
              <a:rPr lang="en-US" b="0" noProof="0"/>
              <a:t>Generation = Demand?!</a:t>
            </a:r>
          </a:p>
          <a:p>
            <a:pPr marL="342900" indent="-342900">
              <a:buClr>
                <a:schemeClr val="accent5">
                  <a:lumMod val="75000"/>
                </a:schemeClr>
              </a:buClr>
              <a:buFont typeface="+mj-lt"/>
              <a:buAutoNum type="arabicPeriod"/>
            </a:pPr>
            <a:r>
              <a:rPr lang="en-US" b="0" noProof="0"/>
              <a:t>Design an energy grid game</a:t>
            </a:r>
          </a:p>
          <a:p>
            <a:pPr marL="0" indent="0">
              <a:buClr>
                <a:schemeClr val="accent5">
                  <a:lumMod val="75000"/>
                </a:schemeClr>
              </a:buClr>
            </a:pPr>
            <a:endParaRPr lang="en-US" b="0"/>
          </a:p>
        </p:txBody>
      </p:sp>
      <p:sp>
        <p:nvSpPr>
          <p:cNvPr id="9" name="Google Shape;343;p26">
            <a:extLst>
              <a:ext uri="{FF2B5EF4-FFF2-40B4-BE49-F238E27FC236}">
                <a16:creationId xmlns:a16="http://schemas.microsoft.com/office/drawing/2014/main" id="{95E6AD99-1B5E-F36B-8DD1-D0A9E187872F}"/>
              </a:ext>
            </a:extLst>
          </p:cNvPr>
          <p:cNvSpPr txBox="1">
            <a:spLocks/>
          </p:cNvSpPr>
          <p:nvPr/>
        </p:nvSpPr>
        <p:spPr>
          <a:xfrm>
            <a:off x="6558224" y="8667013"/>
            <a:ext cx="476045" cy="109724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67</a:t>
            </a:r>
          </a:p>
          <a:p>
            <a:pPr marL="0" indent="0"/>
            <a:r>
              <a:rPr lang="de-DE" b="0"/>
              <a:t>70</a:t>
            </a:r>
          </a:p>
          <a:p>
            <a:pPr marL="0" indent="0"/>
            <a:r>
              <a:rPr lang="de-DE" b="0"/>
              <a:t>77</a:t>
            </a:r>
          </a:p>
          <a:p>
            <a:pPr marL="0" indent="0"/>
            <a:endParaRPr lang="de-DE" b="0"/>
          </a:p>
          <a:p>
            <a:pPr marL="0" indent="0"/>
            <a:endParaRPr lang="de-DE" b="0"/>
          </a:p>
          <a:p>
            <a:pPr marL="0" indent="0"/>
            <a:endParaRPr lang="de-DE" b="0"/>
          </a:p>
        </p:txBody>
      </p:sp>
      <p:sp>
        <p:nvSpPr>
          <p:cNvPr id="14" name="Google Shape;343;p26">
            <a:extLst>
              <a:ext uri="{FF2B5EF4-FFF2-40B4-BE49-F238E27FC236}">
                <a16:creationId xmlns:a16="http://schemas.microsoft.com/office/drawing/2014/main" id="{5D483406-852A-57DF-703B-C1C513A1A992}"/>
              </a:ext>
            </a:extLst>
          </p:cNvPr>
          <p:cNvSpPr txBox="1">
            <a:spLocks/>
          </p:cNvSpPr>
          <p:nvPr/>
        </p:nvSpPr>
        <p:spPr>
          <a:xfrm>
            <a:off x="719138" y="6384824"/>
            <a:ext cx="5569521" cy="152584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a:t>Chapter 3 – </a:t>
            </a:r>
            <a:r>
              <a:rPr lang="en-US" sz="1490"/>
              <a:t>Factors Affecting Turbine Performance - Pelton Turbine Experiments</a:t>
            </a:r>
          </a:p>
          <a:p>
            <a:pPr marL="342900" indent="-342900">
              <a:lnSpc>
                <a:spcPct val="114000"/>
              </a:lnSpc>
              <a:buClr>
                <a:schemeClr val="accent5">
                  <a:lumMod val="75000"/>
                </a:schemeClr>
              </a:buClr>
              <a:buFont typeface="+mj-lt"/>
              <a:buAutoNum type="arabicPeriod"/>
            </a:pPr>
            <a:r>
              <a:rPr lang="en-US" b="0"/>
              <a:t>Effect of volume on the force of water</a:t>
            </a:r>
          </a:p>
          <a:p>
            <a:pPr marL="342900" indent="-342900">
              <a:lnSpc>
                <a:spcPct val="114000"/>
              </a:lnSpc>
              <a:buClr>
                <a:schemeClr val="accent5">
                  <a:lumMod val="75000"/>
                </a:schemeClr>
              </a:buClr>
              <a:buFont typeface="+mj-lt"/>
              <a:buAutoNum type="arabicPeriod"/>
            </a:pPr>
            <a:r>
              <a:rPr lang="en-US" b="0"/>
              <a:t>Effect of obstacles on the force of water</a:t>
            </a:r>
          </a:p>
          <a:p>
            <a:pPr marL="342900" indent="-342900">
              <a:lnSpc>
                <a:spcPct val="114000"/>
              </a:lnSpc>
              <a:buClr>
                <a:schemeClr val="accent5">
                  <a:lumMod val="75000"/>
                </a:schemeClr>
              </a:buClr>
              <a:buFont typeface="+mj-lt"/>
              <a:buAutoNum type="arabicPeriod"/>
            </a:pPr>
            <a:r>
              <a:rPr lang="en-US" b="0"/>
              <a:t>Hydro-energy Kit overview</a:t>
            </a:r>
          </a:p>
          <a:p>
            <a:pPr marL="342900" indent="-342900">
              <a:lnSpc>
                <a:spcPct val="114000"/>
              </a:lnSpc>
              <a:buClr>
                <a:schemeClr val="accent5">
                  <a:lumMod val="75000"/>
                </a:schemeClr>
              </a:buClr>
              <a:buFont typeface="+mj-lt"/>
              <a:buAutoNum type="arabicPeriod"/>
            </a:pPr>
            <a:r>
              <a:rPr lang="en-US" b="0"/>
              <a:t>How to use a Multimeter</a:t>
            </a:r>
          </a:p>
          <a:p>
            <a:pPr marL="342900" indent="-342900">
              <a:lnSpc>
                <a:spcPct val="114000"/>
              </a:lnSpc>
              <a:buClr>
                <a:schemeClr val="accent5">
                  <a:lumMod val="75000"/>
                </a:schemeClr>
              </a:buClr>
              <a:buFont typeface="+mj-lt"/>
              <a:buAutoNum type="arabicPeriod"/>
            </a:pPr>
            <a:r>
              <a:rPr lang="en-US" b="0"/>
              <a:t>Effect of Head Height on Energy Generation in a Pelton Turbine</a:t>
            </a:r>
          </a:p>
          <a:p>
            <a:pPr marL="0" indent="0">
              <a:lnSpc>
                <a:spcPct val="114000"/>
              </a:lnSpc>
              <a:buClr>
                <a:schemeClr val="accent5">
                  <a:lumMod val="75000"/>
                </a:schemeClr>
              </a:buClr>
            </a:pPr>
            <a:endParaRPr lang="en-US" b="0"/>
          </a:p>
        </p:txBody>
      </p:sp>
      <p:sp>
        <p:nvSpPr>
          <p:cNvPr id="7" name="Google Shape;343;p26">
            <a:extLst>
              <a:ext uri="{FF2B5EF4-FFF2-40B4-BE49-F238E27FC236}">
                <a16:creationId xmlns:a16="http://schemas.microsoft.com/office/drawing/2014/main" id="{83340199-8F48-79F6-295A-E4E7EE1C1B65}"/>
              </a:ext>
            </a:extLst>
          </p:cNvPr>
          <p:cNvSpPr txBox="1">
            <a:spLocks/>
          </p:cNvSpPr>
          <p:nvPr/>
        </p:nvSpPr>
        <p:spPr>
          <a:xfrm>
            <a:off x="6537068" y="6904766"/>
            <a:ext cx="351805" cy="136313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lnSpc>
                <a:spcPct val="114000"/>
              </a:lnSpc>
            </a:pPr>
            <a:r>
              <a:rPr lang="de-DE" b="0"/>
              <a:t>51</a:t>
            </a:r>
          </a:p>
          <a:p>
            <a:pPr marL="0" indent="0">
              <a:lnSpc>
                <a:spcPct val="114000"/>
              </a:lnSpc>
            </a:pPr>
            <a:r>
              <a:rPr lang="de-DE" b="0"/>
              <a:t>54</a:t>
            </a:r>
          </a:p>
          <a:p>
            <a:pPr marL="0" indent="0">
              <a:lnSpc>
                <a:spcPct val="114000"/>
              </a:lnSpc>
            </a:pPr>
            <a:r>
              <a:rPr lang="de-DE" b="0"/>
              <a:t>58</a:t>
            </a:r>
          </a:p>
          <a:p>
            <a:pPr marL="0" indent="0">
              <a:lnSpc>
                <a:spcPct val="114000"/>
              </a:lnSpc>
            </a:pPr>
            <a:r>
              <a:rPr lang="de-DE" b="0"/>
              <a:t>60</a:t>
            </a:r>
          </a:p>
          <a:p>
            <a:pPr marL="0" indent="0">
              <a:lnSpc>
                <a:spcPct val="114000"/>
              </a:lnSpc>
            </a:pPr>
            <a:r>
              <a:rPr lang="de-DE" b="0"/>
              <a:t>62</a:t>
            </a:r>
          </a:p>
        </p:txBody>
      </p:sp>
    </p:spTree>
    <p:extLst>
      <p:ext uri="{BB962C8B-B14F-4D97-AF65-F5344CB8AC3E}">
        <p14:creationId xmlns:p14="http://schemas.microsoft.com/office/powerpoint/2010/main" val="855508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1CD6F58D-D9E5-565F-398A-57BF72EF4492}"/>
            </a:ext>
          </a:extLst>
        </p:cNvPr>
        <p:cNvGrpSpPr/>
        <p:nvPr/>
      </p:nvGrpSpPr>
      <p:grpSpPr>
        <a:xfrm>
          <a:off x="0" y="0"/>
          <a:ext cx="0" cy="0"/>
          <a:chOff x="0" y="0"/>
          <a:chExt cx="0" cy="0"/>
        </a:xfrm>
      </p:grpSpPr>
      <p:sp>
        <p:nvSpPr>
          <p:cNvPr id="304" name="Google Shape;304;p24">
            <a:extLst>
              <a:ext uri="{FF2B5EF4-FFF2-40B4-BE49-F238E27FC236}">
                <a16:creationId xmlns:a16="http://schemas.microsoft.com/office/drawing/2014/main" id="{C0993BBD-1C8E-E163-4227-B663A6058929}"/>
              </a:ext>
            </a:extLst>
          </p:cNvPr>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305" name="Google Shape;305;p24">
            <a:extLst>
              <a:ext uri="{FF2B5EF4-FFF2-40B4-BE49-F238E27FC236}">
                <a16:creationId xmlns:a16="http://schemas.microsoft.com/office/drawing/2014/main" id="{4D852023-BB72-D07B-60B1-C998F83C2C86}"/>
              </a:ext>
            </a:extLst>
          </p:cNvPr>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a:extLst>
              <a:ext uri="{FF2B5EF4-FFF2-40B4-BE49-F238E27FC236}">
                <a16:creationId xmlns:a16="http://schemas.microsoft.com/office/drawing/2014/main" id="{2B27A796-4522-187F-78B8-C5E23FA312BC}"/>
              </a:ext>
            </a:extLst>
          </p:cNvPr>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
              <a:t>Hydro Energy</a:t>
            </a:r>
            <a:br>
              <a:rPr lang="en"/>
            </a:br>
            <a:r>
              <a:rPr lang="en"/>
              <a:t>Education HUB</a:t>
            </a:r>
            <a:endParaRPr lang="it-IT"/>
          </a:p>
          <a:p>
            <a:r>
              <a:rPr lang="en" b="0"/>
              <a:t>Chapter 2</a:t>
            </a:r>
            <a:endParaRPr b="0"/>
          </a:p>
        </p:txBody>
      </p:sp>
      <p:sp>
        <p:nvSpPr>
          <p:cNvPr id="327" name="Google Shape;327;p24">
            <a:extLst>
              <a:ext uri="{FF2B5EF4-FFF2-40B4-BE49-F238E27FC236}">
                <a16:creationId xmlns:a16="http://schemas.microsoft.com/office/drawing/2014/main" id="{67ABA4B9-F4F8-D239-F67A-8950DA633D6A}"/>
              </a:ext>
            </a:extLst>
          </p:cNvPr>
          <p:cNvSpPr txBox="1">
            <a:spLocks noGrp="1"/>
          </p:cNvSpPr>
          <p:nvPr>
            <p:ph type="subTitle" idx="1"/>
          </p:nvPr>
        </p:nvSpPr>
        <p:spPr>
          <a:xfrm>
            <a:off x="2753754" y="5992363"/>
            <a:ext cx="4216106" cy="1014575"/>
          </a:xfrm>
          <a:prstGeom prst="rect">
            <a:avLst/>
          </a:prstGeom>
          <a:solidFill>
            <a:schemeClr val="accent5">
              <a:lumMod val="20000"/>
              <a:lumOff val="80000"/>
            </a:schemeClr>
          </a:solidFill>
          <a:ln>
            <a:noFill/>
          </a:ln>
        </p:spPr>
        <p:txBody>
          <a:bodyPr spcFirstLastPara="1" wrap="square" lIns="75584" tIns="75584" rIns="75584" bIns="75584" anchor="ctr" anchorCtr="0">
            <a:noAutofit/>
          </a:bodyPr>
          <a:lstStyle/>
          <a:p>
            <a:pPr marL="0" indent="0"/>
            <a:r>
              <a:rPr lang="en" sz="2800" b="1"/>
              <a:t>Water Wheel and Turbine Types</a:t>
            </a:r>
          </a:p>
        </p:txBody>
      </p:sp>
      <p:sp>
        <p:nvSpPr>
          <p:cNvPr id="4" name="Rechteck 3">
            <a:extLst>
              <a:ext uri="{FF2B5EF4-FFF2-40B4-BE49-F238E27FC236}">
                <a16:creationId xmlns:a16="http://schemas.microsoft.com/office/drawing/2014/main" id="{730847E5-9F47-7B7F-8C5C-F838C2F0F08B}"/>
              </a:ext>
            </a:extLst>
          </p:cNvPr>
          <p:cNvSpPr/>
          <p:nvPr/>
        </p:nvSpPr>
        <p:spPr>
          <a:xfrm>
            <a:off x="870038" y="4511940"/>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42CC502A-F3A8-1086-0956-E5BC565D0140}"/>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97B8724-E1D9-5B7F-A1F1-B4815F534819}"/>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descr="Ein Bild, das Kreis, Kunst, Symmetrie, Design enthält.&#10;&#10;Automatisch generierte Beschreibung">
            <a:extLst>
              <a:ext uri="{FF2B5EF4-FFF2-40B4-BE49-F238E27FC236}">
                <a16:creationId xmlns:a16="http://schemas.microsoft.com/office/drawing/2014/main" id="{0251D71E-5B0C-A97D-0DC1-F5841E6AD4CC}"/>
              </a:ext>
            </a:extLst>
          </p:cNvPr>
          <p:cNvPicPr>
            <a:picLocks noChangeAspect="1"/>
          </p:cNvPicPr>
          <p:nvPr/>
        </p:nvPicPr>
        <p:blipFill>
          <a:blip r:embed="rId3"/>
          <a:stretch>
            <a:fillRect/>
          </a:stretch>
        </p:blipFill>
        <p:spPr>
          <a:xfrm>
            <a:off x="480748" y="4511940"/>
            <a:ext cx="2086513" cy="2086513"/>
          </a:xfrm>
          <a:prstGeom prst="rect">
            <a:avLst/>
          </a:prstGeom>
        </p:spPr>
      </p:pic>
    </p:spTree>
    <p:extLst>
      <p:ext uri="{BB962C8B-B14F-4D97-AF65-F5344CB8AC3E}">
        <p14:creationId xmlns:p14="http://schemas.microsoft.com/office/powerpoint/2010/main" val="21190024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7BD68-D705-1D9F-FD25-D28EE2DC3747}"/>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9C5DF7A-316E-8F6C-32E6-1C668EB0D7C2}"/>
              </a:ext>
            </a:extLst>
          </p:cNvPr>
          <p:cNvSpPr>
            <a:spLocks noGrp="1"/>
          </p:cNvSpPr>
          <p:nvPr>
            <p:ph type="sldNum" sz="quarter" idx="4"/>
          </p:nvPr>
        </p:nvSpPr>
        <p:spPr>
          <a:xfrm>
            <a:off x="5314092" y="9645423"/>
            <a:ext cx="1701800" cy="569913"/>
          </a:xfrm>
        </p:spPr>
        <p:txBody>
          <a:bodyPr/>
          <a:lstStyle/>
          <a:p>
            <a:fld id="{DF7F771E-9578-4C04-B869-01AF4C35C90C}" type="slidenum">
              <a:rPr lang="de-DE" smtClean="0"/>
              <a:t>41</a:t>
            </a:fld>
            <a:endParaRPr lang="de-DE"/>
          </a:p>
        </p:txBody>
      </p:sp>
      <p:sp>
        <p:nvSpPr>
          <p:cNvPr id="4" name="Titel 1">
            <a:extLst>
              <a:ext uri="{FF2B5EF4-FFF2-40B4-BE49-F238E27FC236}">
                <a16:creationId xmlns:a16="http://schemas.microsoft.com/office/drawing/2014/main" id="{491ACDCC-65CA-08AD-8638-F97948C37D85}"/>
              </a:ext>
            </a:extLst>
          </p:cNvPr>
          <p:cNvSpPr>
            <a:spLocks noGrp="1"/>
          </p:cNvSpPr>
          <p:nvPr>
            <p:ph type="title"/>
          </p:nvPr>
        </p:nvSpPr>
        <p:spPr>
          <a:xfrm>
            <a:off x="719138" y="1277938"/>
            <a:ext cx="6380336" cy="1190474"/>
          </a:xfrm>
        </p:spPr>
        <p:txBody>
          <a:bodyPr/>
          <a:lstStyle/>
          <a:p>
            <a:pPr marL="514350" indent="-514350">
              <a:buAutoNum type="arabicPeriod"/>
            </a:pPr>
            <a:r>
              <a:rPr lang="de-DE"/>
              <a:t>Craft </a:t>
            </a:r>
            <a:r>
              <a:rPr lang="de-DE" err="1"/>
              <a:t>Your</a:t>
            </a:r>
            <a:r>
              <a:rPr lang="de-DE"/>
              <a:t> Own </a:t>
            </a:r>
            <a:r>
              <a:rPr lang="de-DE" err="1"/>
              <a:t>Water</a:t>
            </a:r>
            <a:r>
              <a:rPr lang="de-DE"/>
              <a:t> Wheel!</a:t>
            </a:r>
          </a:p>
        </p:txBody>
      </p:sp>
      <p:sp>
        <p:nvSpPr>
          <p:cNvPr id="6" name="Untertitel 3">
            <a:extLst>
              <a:ext uri="{FF2B5EF4-FFF2-40B4-BE49-F238E27FC236}">
                <a16:creationId xmlns:a16="http://schemas.microsoft.com/office/drawing/2014/main" id="{0893BBFF-93F6-5D69-5328-BCAA8A660C8E}"/>
              </a:ext>
            </a:extLst>
          </p:cNvPr>
          <p:cNvSpPr txBox="1">
            <a:spLocks/>
          </p:cNvSpPr>
          <p:nvPr/>
        </p:nvSpPr>
        <p:spPr>
          <a:xfrm>
            <a:off x="719138" y="2070138"/>
            <a:ext cx="5894338" cy="32076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solidFill>
                  <a:schemeClr val="accent5"/>
                </a:solidFill>
                <a:latin typeface="Epilogue"/>
                <a:cs typeface="Epilogue"/>
              </a:rPr>
              <a:t>Learning Objective</a:t>
            </a:r>
          </a:p>
          <a:p>
            <a:pPr marL="144000" indent="0">
              <a:lnSpc>
                <a:spcPct val="114999"/>
              </a:lnSpc>
            </a:pPr>
            <a:r>
              <a:rPr lang="en-US" sz="1200">
                <a:solidFill>
                  <a:srgbClr val="000000"/>
                </a:solidFill>
              </a:rPr>
              <a:t>In this chapter, you will embark on an exciting journey into the world of hydropower. Together with your team, you will construct your very own water wheel and explore the mechanics behind its operation. This hands-on task will help you understand how to efficiently run a hydroelectric power plant and uncover the critical role that buckets play in its functionality. You will also investigate the ideal types of water motion for a water wheel and discover how this connects to the formula for energy in hydropower systems.</a:t>
            </a:r>
          </a:p>
          <a:p>
            <a:pPr marL="144000" indent="0">
              <a:lnSpc>
                <a:spcPct val="114999"/>
              </a:lnSpc>
            </a:pPr>
            <a:r>
              <a:rPr lang="en-US" sz="1200">
                <a:solidFill>
                  <a:srgbClr val="000000"/>
                </a:solidFill>
              </a:rPr>
              <a:t>Additionally, through a hands-on experiment, you will see state-of-the-art turbines and learn about three distinct turbine designs. You will explore how these turbines differ, the principles behind their operation, and the reasons for their unique designs.</a:t>
            </a:r>
          </a:p>
          <a:p>
            <a:pPr marL="144000" indent="0">
              <a:lnSpc>
                <a:spcPct val="114999"/>
              </a:lnSpc>
            </a:pPr>
            <a:r>
              <a:rPr lang="en-US" sz="1200">
                <a:solidFill>
                  <a:srgbClr val="000000"/>
                </a:solidFill>
              </a:rPr>
              <a:t>By the end of this chapter, you will not only have built a deeper understanding of hydropower but also gained practical insights into the technology driving modern hydroelectric systems.</a:t>
            </a:r>
          </a:p>
          <a:p>
            <a:endParaRPr lang="de-DE" sz="1150"/>
          </a:p>
        </p:txBody>
      </p:sp>
      <p:sp>
        <p:nvSpPr>
          <p:cNvPr id="9" name="Rechteck 1">
            <a:extLst>
              <a:ext uri="{FF2B5EF4-FFF2-40B4-BE49-F238E27FC236}">
                <a16:creationId xmlns:a16="http://schemas.microsoft.com/office/drawing/2014/main" id="{7D76AC3A-0ACA-FE0F-DF14-F3076F121372}"/>
              </a:ext>
            </a:extLst>
          </p:cNvPr>
          <p:cNvSpPr/>
          <p:nvPr/>
        </p:nvSpPr>
        <p:spPr>
          <a:xfrm>
            <a:off x="719138" y="5624886"/>
            <a:ext cx="5919009" cy="4093480"/>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i="0">
                <a:solidFill>
                  <a:srgbClr val="000000"/>
                </a:solidFill>
                <a:effectLst/>
                <a:latin typeface="Times"/>
              </a:rPr>
              <a:t> </a:t>
            </a:r>
            <a:endParaRPr lang="de-DE"/>
          </a:p>
        </p:txBody>
      </p:sp>
      <p:grpSp>
        <p:nvGrpSpPr>
          <p:cNvPr id="16" name="Gruppieren 14">
            <a:extLst>
              <a:ext uri="{FF2B5EF4-FFF2-40B4-BE49-F238E27FC236}">
                <a16:creationId xmlns:a16="http://schemas.microsoft.com/office/drawing/2014/main" id="{8FA585B2-24D3-D3AC-35F5-F580C63701C9}"/>
              </a:ext>
            </a:extLst>
          </p:cNvPr>
          <p:cNvGrpSpPr/>
          <p:nvPr/>
        </p:nvGrpSpPr>
        <p:grpSpPr>
          <a:xfrm>
            <a:off x="6430639" y="5414045"/>
            <a:ext cx="415015" cy="412039"/>
            <a:chOff x="6140363" y="3097010"/>
            <a:chExt cx="660144" cy="660145"/>
          </a:xfrm>
        </p:grpSpPr>
        <p:sp>
          <p:nvSpPr>
            <p:cNvPr id="19" name="Ellipse 12">
              <a:extLst>
                <a:ext uri="{FF2B5EF4-FFF2-40B4-BE49-F238E27FC236}">
                  <a16:creationId xmlns:a16="http://schemas.microsoft.com/office/drawing/2014/main" id="{D2404EEC-660E-791D-9611-43D654FDD761}"/>
                </a:ext>
              </a:extLst>
            </p:cNvPr>
            <p:cNvSpPr>
              <a:spLocks noChangeAspect="1"/>
            </p:cNvSpPr>
            <p:nvPr/>
          </p:nvSpPr>
          <p:spPr>
            <a:xfrm>
              <a:off x="6140363" y="3097010"/>
              <a:ext cx="660144"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13" descr="Inventar mit einfarbiger Füllung">
              <a:extLst>
                <a:ext uri="{FF2B5EF4-FFF2-40B4-BE49-F238E27FC236}">
                  <a16:creationId xmlns:a16="http://schemas.microsoft.com/office/drawing/2014/main" id="{EF327B0D-E6F5-E9AE-D441-744294A430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41840" y="3198483"/>
              <a:ext cx="457200" cy="457200"/>
            </a:xfrm>
            <a:prstGeom prst="rect">
              <a:avLst/>
            </a:prstGeom>
          </p:spPr>
        </p:pic>
      </p:grpSp>
      <p:sp>
        <p:nvSpPr>
          <p:cNvPr id="23" name="Untertitel 5">
            <a:extLst>
              <a:ext uri="{FF2B5EF4-FFF2-40B4-BE49-F238E27FC236}">
                <a16:creationId xmlns:a16="http://schemas.microsoft.com/office/drawing/2014/main" id="{798E09D9-3CDC-D5AA-12F9-F6CF103C8982}"/>
              </a:ext>
            </a:extLst>
          </p:cNvPr>
          <p:cNvSpPr txBox="1">
            <a:spLocks/>
          </p:cNvSpPr>
          <p:nvPr/>
        </p:nvSpPr>
        <p:spPr>
          <a:xfrm>
            <a:off x="1043570" y="6185123"/>
            <a:ext cx="2640635" cy="125552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285750" indent="-285750">
              <a:lnSpc>
                <a:spcPct val="150000"/>
              </a:lnSpc>
              <a:buClr>
                <a:schemeClr val="accent5"/>
              </a:buClr>
              <a:buSzPct val="121000"/>
              <a:buFont typeface="Arial" panose="020B0604020202020204" pitchFamily="34" charset="0"/>
              <a:buChar char="•"/>
            </a:pPr>
            <a:r>
              <a:rPr lang="en-US" sz="1150" b="0">
                <a:latin typeface="Sofia Sans"/>
                <a:cs typeface="Epilogue"/>
                <a:sym typeface="Sofia Sans"/>
              </a:rPr>
              <a:t>Fully printed template of the Paper Water Wheel </a:t>
            </a:r>
          </a:p>
          <a:p>
            <a:pPr marL="285750" indent="-285750">
              <a:lnSpc>
                <a:spcPct val="150000"/>
              </a:lnSpc>
              <a:buClr>
                <a:schemeClr val="accent5"/>
              </a:buClr>
              <a:buSzPct val="121000"/>
              <a:buFont typeface="Arial" panose="020B0604020202020204" pitchFamily="34" charset="0"/>
              <a:buChar char="•"/>
            </a:pPr>
            <a:r>
              <a:rPr lang="en-US" sz="1150" b="0">
                <a:latin typeface="Sofia Sans"/>
                <a:cs typeface="Epilogue"/>
                <a:sym typeface="Sofia Sans"/>
              </a:rPr>
              <a:t>Scissors</a:t>
            </a:r>
            <a:endParaRPr lang="en-US" sz="1150" b="0">
              <a:latin typeface="Sofia Sans"/>
              <a:cs typeface="Epilogue"/>
            </a:endParaRPr>
          </a:p>
        </p:txBody>
      </p:sp>
      <p:sp>
        <p:nvSpPr>
          <p:cNvPr id="24" name="Untertitel 5">
            <a:extLst>
              <a:ext uri="{FF2B5EF4-FFF2-40B4-BE49-F238E27FC236}">
                <a16:creationId xmlns:a16="http://schemas.microsoft.com/office/drawing/2014/main" id="{1DDB1A13-1706-7189-38A2-CDBE22E0DFE6}"/>
              </a:ext>
            </a:extLst>
          </p:cNvPr>
          <p:cNvSpPr txBox="1">
            <a:spLocks/>
          </p:cNvSpPr>
          <p:nvPr/>
        </p:nvSpPr>
        <p:spPr>
          <a:xfrm>
            <a:off x="869152" y="5759582"/>
            <a:ext cx="5076826" cy="4255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600" noProof="0"/>
              <a:t>Material you will need for the </a:t>
            </a:r>
            <a:r>
              <a:rPr lang="en-GB" sz="1600"/>
              <a:t>experiment</a:t>
            </a:r>
            <a:endParaRPr lang="en-GB" noProof="0"/>
          </a:p>
        </p:txBody>
      </p:sp>
      <p:sp>
        <p:nvSpPr>
          <p:cNvPr id="5" name="Untertitel 5">
            <a:extLst>
              <a:ext uri="{FF2B5EF4-FFF2-40B4-BE49-F238E27FC236}">
                <a16:creationId xmlns:a16="http://schemas.microsoft.com/office/drawing/2014/main" id="{41B6C4B2-1BC9-15A9-E4DF-F6E3164C5EEB}"/>
              </a:ext>
            </a:extLst>
          </p:cNvPr>
          <p:cNvSpPr txBox="1">
            <a:spLocks/>
          </p:cNvSpPr>
          <p:nvPr/>
        </p:nvSpPr>
        <p:spPr>
          <a:xfrm>
            <a:off x="886207" y="7097016"/>
            <a:ext cx="5076826" cy="56825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Instructions to build the Water Wheel</a:t>
            </a:r>
          </a:p>
        </p:txBody>
      </p:sp>
      <p:sp>
        <p:nvSpPr>
          <p:cNvPr id="2" name="Untertitel 5">
            <a:extLst>
              <a:ext uri="{FF2B5EF4-FFF2-40B4-BE49-F238E27FC236}">
                <a16:creationId xmlns:a16="http://schemas.microsoft.com/office/drawing/2014/main" id="{771DC29E-AFBD-3384-F2C5-E7FFDEA2BCED}"/>
              </a:ext>
            </a:extLst>
          </p:cNvPr>
          <p:cNvSpPr txBox="1">
            <a:spLocks/>
          </p:cNvSpPr>
          <p:nvPr/>
        </p:nvSpPr>
        <p:spPr>
          <a:xfrm>
            <a:off x="1059978" y="7547677"/>
            <a:ext cx="5248453" cy="204931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285750" indent="-285750">
              <a:lnSpc>
                <a:spcPct val="150000"/>
              </a:lnSpc>
              <a:buClr>
                <a:schemeClr val="accent5"/>
              </a:buClr>
              <a:buSzPct val="121000"/>
              <a:buFont typeface="+mj-lt"/>
              <a:buAutoNum type="arabicPeriod"/>
            </a:pPr>
            <a:r>
              <a:rPr lang="en-US" sz="1150" b="0">
                <a:latin typeface="Sofia Sans"/>
              </a:rPr>
              <a:t>Build the Water Wheel in Class together! Assemble the water wheel following the steps provided on page 1 of the template. Allow the glue to dry completely before proceeding.</a:t>
            </a:r>
          </a:p>
          <a:p>
            <a:pPr marL="285750" indent="-285750">
              <a:lnSpc>
                <a:spcPct val="150000"/>
              </a:lnSpc>
              <a:buClr>
                <a:schemeClr val="accent5"/>
              </a:buClr>
              <a:buSzPct val="121000"/>
              <a:buFont typeface="+mj-lt"/>
              <a:buAutoNum type="arabicPeriod"/>
            </a:pPr>
            <a:r>
              <a:rPr lang="en-US" sz="1150" b="0">
                <a:latin typeface="Sofia Sans"/>
              </a:rPr>
              <a:t>Apply the Waterproofing Spray. Once the glue has dried, use the waterproofing spray to coat the water wheel. Spray carefully at every angle, ensuring the entire surface is covered. This will protect the water wheel from water damage and ensure it remains functional during testing.</a:t>
            </a:r>
          </a:p>
        </p:txBody>
      </p:sp>
      <p:sp>
        <p:nvSpPr>
          <p:cNvPr id="7" name="Untertitel 5">
            <a:extLst>
              <a:ext uri="{FF2B5EF4-FFF2-40B4-BE49-F238E27FC236}">
                <a16:creationId xmlns:a16="http://schemas.microsoft.com/office/drawing/2014/main" id="{B21E6C1B-8189-F502-E1F9-6DE2FF952AD8}"/>
              </a:ext>
            </a:extLst>
          </p:cNvPr>
          <p:cNvSpPr txBox="1">
            <a:spLocks/>
          </p:cNvSpPr>
          <p:nvPr/>
        </p:nvSpPr>
        <p:spPr>
          <a:xfrm>
            <a:off x="3733556" y="6185122"/>
            <a:ext cx="2640635" cy="125552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285750" indent="-285750">
              <a:lnSpc>
                <a:spcPct val="150000"/>
              </a:lnSpc>
              <a:buClr>
                <a:schemeClr val="accent5"/>
              </a:buClr>
              <a:buSzPct val="121000"/>
              <a:buFont typeface="Arial" panose="020B0604020202020204" pitchFamily="34" charset="0"/>
              <a:buChar char="•"/>
            </a:pPr>
            <a:r>
              <a:rPr lang="en-US" sz="1150" b="0">
                <a:latin typeface="Sofia Sans"/>
                <a:sym typeface="Sofia Sans"/>
              </a:rPr>
              <a:t>Paper Glue</a:t>
            </a:r>
            <a:endParaRPr lang="en-US" sz="1150" b="0">
              <a:latin typeface="Sofia Sans"/>
            </a:endParaRPr>
          </a:p>
          <a:p>
            <a:pPr marL="285750" indent="-285750">
              <a:lnSpc>
                <a:spcPct val="150000"/>
              </a:lnSpc>
              <a:buClr>
                <a:schemeClr val="accent5"/>
              </a:buClr>
              <a:buSzPct val="121000"/>
              <a:buFont typeface="Arial" panose="020B0604020202020204" pitchFamily="34" charset="0"/>
              <a:buChar char="•"/>
            </a:pPr>
            <a:r>
              <a:rPr lang="en-US" sz="1150" b="0">
                <a:latin typeface="Sofia Sans"/>
              </a:rPr>
              <a:t>Waterproofing spray for paper (regular waterproofing spray) </a:t>
            </a:r>
          </a:p>
        </p:txBody>
      </p:sp>
    </p:spTree>
    <p:extLst>
      <p:ext uri="{BB962C8B-B14F-4D97-AF65-F5344CB8AC3E}">
        <p14:creationId xmlns:p14="http://schemas.microsoft.com/office/powerpoint/2010/main" val="34169254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BB6E2-861A-5B1A-6E81-434FD6AA2690}"/>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88A82665-2411-C7B2-E8DF-831D7424CEEA}"/>
              </a:ext>
            </a:extLst>
          </p:cNvPr>
          <p:cNvSpPr>
            <a:spLocks noGrp="1"/>
          </p:cNvSpPr>
          <p:nvPr>
            <p:ph type="sldNum" sz="quarter" idx="16"/>
          </p:nvPr>
        </p:nvSpPr>
        <p:spPr/>
        <p:txBody>
          <a:bodyPr/>
          <a:lstStyle/>
          <a:p>
            <a:fld id="{DF7F771E-9578-4C04-B869-01AF4C35C90C}" type="slidenum">
              <a:rPr lang="de-DE" smtClean="0"/>
              <a:t>42</a:t>
            </a:fld>
            <a:endParaRPr lang="de-DE"/>
          </a:p>
        </p:txBody>
      </p:sp>
      <p:pic>
        <p:nvPicPr>
          <p:cNvPr id="4" name="Picture 3" descr="A diagram of a box&#10;&#10;Description automatically generated with medium confidence">
            <a:extLst>
              <a:ext uri="{FF2B5EF4-FFF2-40B4-BE49-F238E27FC236}">
                <a16:creationId xmlns:a16="http://schemas.microsoft.com/office/drawing/2014/main" id="{B8AC3D44-1C63-BA77-9E53-F30508CAC9AB}"/>
              </a:ext>
            </a:extLst>
          </p:cNvPr>
          <p:cNvPicPr>
            <a:picLocks noChangeAspect="1"/>
          </p:cNvPicPr>
          <p:nvPr/>
        </p:nvPicPr>
        <p:blipFill>
          <a:blip r:embed="rId2"/>
          <a:stretch>
            <a:fillRect/>
          </a:stretch>
        </p:blipFill>
        <p:spPr>
          <a:xfrm>
            <a:off x="1393273" y="3324339"/>
            <a:ext cx="5416268" cy="3852300"/>
          </a:xfrm>
          <a:prstGeom prst="rect">
            <a:avLst/>
          </a:prstGeom>
        </p:spPr>
      </p:pic>
      <p:sp>
        <p:nvSpPr>
          <p:cNvPr id="5" name="Oval 4">
            <a:extLst>
              <a:ext uri="{FF2B5EF4-FFF2-40B4-BE49-F238E27FC236}">
                <a16:creationId xmlns:a16="http://schemas.microsoft.com/office/drawing/2014/main" id="{C64F932C-80A6-80F1-B3F4-31975D71A601}"/>
              </a:ext>
            </a:extLst>
          </p:cNvPr>
          <p:cNvSpPr/>
          <p:nvPr/>
        </p:nvSpPr>
        <p:spPr>
          <a:xfrm>
            <a:off x="719138" y="3108318"/>
            <a:ext cx="2928730" cy="2631904"/>
          </a:xfrm>
          <a:custGeom>
            <a:avLst/>
            <a:gdLst>
              <a:gd name="connsiteX0" fmla="*/ 0 w 2928730"/>
              <a:gd name="connsiteY0" fmla="*/ 1315952 h 2631904"/>
              <a:gd name="connsiteX1" fmla="*/ 1464365 w 2928730"/>
              <a:gd name="connsiteY1" fmla="*/ 0 h 2631904"/>
              <a:gd name="connsiteX2" fmla="*/ 2928730 w 2928730"/>
              <a:gd name="connsiteY2" fmla="*/ 1315952 h 2631904"/>
              <a:gd name="connsiteX3" fmla="*/ 1464365 w 2928730"/>
              <a:gd name="connsiteY3" fmla="*/ 2631904 h 2631904"/>
              <a:gd name="connsiteX4" fmla="*/ 0 w 2928730"/>
              <a:gd name="connsiteY4" fmla="*/ 1315952 h 2631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8730" h="2631904" extrusionOk="0">
                <a:moveTo>
                  <a:pt x="0" y="1315952"/>
                </a:moveTo>
                <a:cubicBezTo>
                  <a:pt x="-81436" y="538941"/>
                  <a:pt x="510755" y="54370"/>
                  <a:pt x="1464365" y="0"/>
                </a:cubicBezTo>
                <a:cubicBezTo>
                  <a:pt x="2338484" y="13763"/>
                  <a:pt x="2765680" y="594357"/>
                  <a:pt x="2928730" y="1315952"/>
                </a:cubicBezTo>
                <a:cubicBezTo>
                  <a:pt x="2912421" y="2058659"/>
                  <a:pt x="2243274" y="2796823"/>
                  <a:pt x="1464365" y="2631904"/>
                </a:cubicBezTo>
                <a:cubicBezTo>
                  <a:pt x="635478" y="2620884"/>
                  <a:pt x="161560" y="2119927"/>
                  <a:pt x="0" y="1315952"/>
                </a:cubicBezTo>
                <a:close/>
              </a:path>
            </a:pathLst>
          </a:custGeom>
          <a:noFill/>
          <a:ln w="57150">
            <a:solidFill>
              <a:schemeClr val="accent5"/>
            </a:solidFill>
            <a:prstDash val="solid"/>
            <a:extLst>
              <a:ext uri="{C807C97D-BFC1-408E-A445-0C87EB9F89A2}">
                <ask:lineSketchStyleProps xmlns:ask="http://schemas.microsoft.com/office/drawing/2018/sketchyshapes" sd="1219033472">
                  <a:prstGeom prst="ellipse">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Curved Connector 26">
            <a:extLst>
              <a:ext uri="{FF2B5EF4-FFF2-40B4-BE49-F238E27FC236}">
                <a16:creationId xmlns:a16="http://schemas.microsoft.com/office/drawing/2014/main" id="{6B63470C-CCFD-BB96-84F2-54937611A167}"/>
              </a:ext>
            </a:extLst>
          </p:cNvPr>
          <p:cNvCxnSpPr>
            <a:cxnSpLocks/>
          </p:cNvCxnSpPr>
          <p:nvPr/>
        </p:nvCxnSpPr>
        <p:spPr>
          <a:xfrm rot="5400000">
            <a:off x="3002719" y="2442326"/>
            <a:ext cx="932830" cy="831195"/>
          </a:xfrm>
          <a:prstGeom prst="curvedConnector3">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Untertitel 5">
            <a:extLst>
              <a:ext uri="{FF2B5EF4-FFF2-40B4-BE49-F238E27FC236}">
                <a16:creationId xmlns:a16="http://schemas.microsoft.com/office/drawing/2014/main" id="{D8EC93E8-F786-4D38-F08E-7335F91A4208}"/>
              </a:ext>
            </a:extLst>
          </p:cNvPr>
          <p:cNvSpPr txBox="1">
            <a:spLocks/>
          </p:cNvSpPr>
          <p:nvPr/>
        </p:nvSpPr>
        <p:spPr>
          <a:xfrm>
            <a:off x="736807" y="1303148"/>
            <a:ext cx="6016389" cy="1612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tx1"/>
                </a:solidFill>
                <a:effectLst/>
                <a:ea typeface="Times New Roman" panose="02020603050405020304" pitchFamily="18" charset="0"/>
              </a:rPr>
              <a:t>Follow the instructions carefully to build the water wheel </a:t>
            </a:r>
            <a:endParaRPr lang="de-DE" sz="1200"/>
          </a:p>
          <a:p>
            <a:r>
              <a:rPr lang="en-US" sz="1200">
                <a:solidFill>
                  <a:schemeClr val="tx1"/>
                </a:solidFill>
                <a:ea typeface="Times New Roman" panose="02020603050405020304" pitchFamily="18" charset="0"/>
              </a:rPr>
              <a:t>Accurately</a:t>
            </a:r>
            <a:r>
              <a:rPr lang="en-US" sz="1200">
                <a:solidFill>
                  <a:schemeClr val="tx1"/>
                </a:solidFill>
                <a:effectLst/>
                <a:ea typeface="Times New Roman" panose="02020603050405020304" pitchFamily="18" charset="0"/>
              </a:rPr>
              <a:t>.</a:t>
            </a:r>
            <a:r>
              <a:rPr lang="en-US" sz="1200">
                <a:solidFill>
                  <a:schemeClr val="tx1"/>
                </a:solidFill>
                <a:ea typeface="Times New Roman" panose="02020603050405020304" pitchFamily="18" charset="0"/>
              </a:rPr>
              <a:t> Find the pdf in the Moodle-Box!</a:t>
            </a:r>
            <a:endParaRPr lang="en-US" sz="1200">
              <a:solidFill>
                <a:schemeClr val="tx1"/>
              </a:solidFill>
              <a:latin typeface="Epilogue" panose="020B0604020202020204" charset="0"/>
              <a:ea typeface="Times New Roman" panose="02020603050405020304" pitchFamily="18" charset="0"/>
              <a:cs typeface="Epilogue" panose="020B0604020202020204" charset="0"/>
            </a:endParaRPr>
          </a:p>
          <a:p>
            <a:pPr>
              <a:lnSpc>
                <a:spcPct val="114999"/>
              </a:lnSpc>
            </a:pPr>
            <a:r>
              <a:rPr lang="en-US" sz="1200">
                <a:solidFill>
                  <a:schemeClr val="tx1"/>
                </a:solidFill>
                <a:ea typeface="Times New Roman" panose="02020603050405020304" pitchFamily="18" charset="0"/>
              </a:rPr>
              <a:t>You need 12 single Buckets!</a:t>
            </a:r>
            <a:endParaRPr lang="en-US" sz="1200">
              <a:solidFill>
                <a:schemeClr val="tx1"/>
              </a:solidFill>
              <a:latin typeface="Epilogue" panose="020B0604020202020204" charset="0"/>
              <a:ea typeface="Times New Roman" panose="02020603050405020304" pitchFamily="18" charset="0"/>
              <a:cs typeface="Epilogue" panose="020B0604020202020204" charset="0"/>
            </a:endParaRPr>
          </a:p>
          <a:p>
            <a:r>
              <a:rPr lang="en-US" sz="1200">
                <a:solidFill>
                  <a:schemeClr val="tx1"/>
                </a:solidFill>
                <a:effectLst/>
                <a:ea typeface="Times New Roman" panose="02020603050405020304" pitchFamily="18" charset="0"/>
              </a:rPr>
              <a:t>All the necessary instructions are located on the first page of the </a:t>
            </a:r>
          </a:p>
          <a:p>
            <a:r>
              <a:rPr lang="en-US" sz="1200">
                <a:solidFill>
                  <a:schemeClr val="tx1"/>
                </a:solidFill>
                <a:effectLst/>
                <a:ea typeface="Times New Roman" panose="02020603050405020304" pitchFamily="18" charset="0"/>
              </a:rPr>
              <a:t>Paper Water Wheel kit!</a:t>
            </a:r>
          </a:p>
        </p:txBody>
      </p:sp>
      <p:pic>
        <p:nvPicPr>
          <p:cNvPr id="10" name="Grafik 9" descr="Ein Bild, das Box, Im Haus, Boden, Kunst enthält.&#10;&#10;Automatisch generierte Beschreibung">
            <a:extLst>
              <a:ext uri="{FF2B5EF4-FFF2-40B4-BE49-F238E27FC236}">
                <a16:creationId xmlns:a16="http://schemas.microsoft.com/office/drawing/2014/main" id="{6C481BAC-D91A-48B4-EC72-5EFDD38455B2}"/>
              </a:ext>
            </a:extLst>
          </p:cNvPr>
          <p:cNvPicPr>
            <a:picLocks noChangeAspect="1"/>
          </p:cNvPicPr>
          <p:nvPr/>
        </p:nvPicPr>
        <p:blipFill>
          <a:blip r:embed="rId3"/>
          <a:stretch>
            <a:fillRect/>
          </a:stretch>
        </p:blipFill>
        <p:spPr>
          <a:xfrm rot="10800000" flipH="1" flipV="1">
            <a:off x="1031262" y="7561528"/>
            <a:ext cx="1753192" cy="1962757"/>
          </a:xfrm>
          <a:prstGeom prst="rect">
            <a:avLst/>
          </a:prstGeom>
        </p:spPr>
      </p:pic>
      <p:pic>
        <p:nvPicPr>
          <p:cNvPr id="12" name="Grafik 11" descr="Ein Bild, das Box, Papierprodukt, Karton, Verpackungsmaterial enthält.&#10;&#10;Automatisch generierte Beschreibung">
            <a:extLst>
              <a:ext uri="{FF2B5EF4-FFF2-40B4-BE49-F238E27FC236}">
                <a16:creationId xmlns:a16="http://schemas.microsoft.com/office/drawing/2014/main" id="{BBF4E24B-8242-951E-26DD-E27E5DE8770F}"/>
              </a:ext>
            </a:extLst>
          </p:cNvPr>
          <p:cNvPicPr>
            <a:picLocks noChangeAspect="1"/>
          </p:cNvPicPr>
          <p:nvPr/>
        </p:nvPicPr>
        <p:blipFill>
          <a:blip r:embed="rId4"/>
          <a:stretch>
            <a:fillRect/>
          </a:stretch>
        </p:blipFill>
        <p:spPr>
          <a:xfrm>
            <a:off x="3070136" y="7561528"/>
            <a:ext cx="1982945" cy="1962757"/>
          </a:xfrm>
          <a:prstGeom prst="rect">
            <a:avLst/>
          </a:prstGeom>
        </p:spPr>
      </p:pic>
      <p:pic>
        <p:nvPicPr>
          <p:cNvPr id="14" name="Grafik 13" descr="Ein Bild, das Boden, Box, Im Haus, Design enthält.&#10;&#10;Automatisch generierte Beschreibung">
            <a:extLst>
              <a:ext uri="{FF2B5EF4-FFF2-40B4-BE49-F238E27FC236}">
                <a16:creationId xmlns:a16="http://schemas.microsoft.com/office/drawing/2014/main" id="{87DB6D01-0FCE-B622-52BE-68026EE542B8}"/>
              </a:ext>
            </a:extLst>
          </p:cNvPr>
          <p:cNvPicPr>
            <a:picLocks noChangeAspect="1"/>
          </p:cNvPicPr>
          <p:nvPr/>
        </p:nvPicPr>
        <p:blipFill>
          <a:blip r:embed="rId5"/>
          <a:stretch>
            <a:fillRect/>
          </a:stretch>
        </p:blipFill>
        <p:spPr>
          <a:xfrm>
            <a:off x="5338763" y="7561528"/>
            <a:ext cx="1104050" cy="1962757"/>
          </a:xfrm>
          <a:prstGeom prst="rect">
            <a:avLst/>
          </a:prstGeom>
        </p:spPr>
      </p:pic>
    </p:spTree>
    <p:extLst>
      <p:ext uri="{BB962C8B-B14F-4D97-AF65-F5344CB8AC3E}">
        <p14:creationId xmlns:p14="http://schemas.microsoft.com/office/powerpoint/2010/main" val="36707373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B3B09-B909-D819-FDAD-4AFD05D0678E}"/>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708745E4-DA83-A693-39FA-9D7F665BE374}"/>
              </a:ext>
            </a:extLst>
          </p:cNvPr>
          <p:cNvSpPr>
            <a:spLocks noGrp="1"/>
          </p:cNvSpPr>
          <p:nvPr>
            <p:ph type="sldNum" sz="quarter" idx="16"/>
          </p:nvPr>
        </p:nvSpPr>
        <p:spPr/>
        <p:txBody>
          <a:bodyPr/>
          <a:lstStyle/>
          <a:p>
            <a:fld id="{DF7F771E-9578-4C04-B869-01AF4C35C90C}" type="slidenum">
              <a:rPr lang="de-DE" smtClean="0"/>
              <a:t>43</a:t>
            </a:fld>
            <a:endParaRPr lang="de-DE"/>
          </a:p>
        </p:txBody>
      </p:sp>
      <p:grpSp>
        <p:nvGrpSpPr>
          <p:cNvPr id="4" name="Gruppieren 3">
            <a:extLst>
              <a:ext uri="{FF2B5EF4-FFF2-40B4-BE49-F238E27FC236}">
                <a16:creationId xmlns:a16="http://schemas.microsoft.com/office/drawing/2014/main" id="{83331313-8795-2802-ACA1-CF58AC44EA85}"/>
              </a:ext>
            </a:extLst>
          </p:cNvPr>
          <p:cNvGrpSpPr/>
          <p:nvPr/>
        </p:nvGrpSpPr>
        <p:grpSpPr>
          <a:xfrm>
            <a:off x="719138" y="1277938"/>
            <a:ext cx="2000022" cy="480127"/>
            <a:chOff x="717779" y="1922947"/>
            <a:chExt cx="2000022" cy="480127"/>
          </a:xfrm>
        </p:grpSpPr>
        <p:sp>
          <p:nvSpPr>
            <p:cNvPr id="16" name="Untertitel 5">
              <a:extLst>
                <a:ext uri="{FF2B5EF4-FFF2-40B4-BE49-F238E27FC236}">
                  <a16:creationId xmlns:a16="http://schemas.microsoft.com/office/drawing/2014/main" id="{7848BFF3-0C0C-938B-9AEE-E75B68FE47D0}"/>
                </a:ext>
              </a:extLst>
            </p:cNvPr>
            <p:cNvSpPr txBox="1">
              <a:spLocks/>
            </p:cNvSpPr>
            <p:nvPr/>
          </p:nvSpPr>
          <p:spPr>
            <a:xfrm>
              <a:off x="1136421" y="1928883"/>
              <a:ext cx="158138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22" name="Ellipse 21">
              <a:extLst>
                <a:ext uri="{FF2B5EF4-FFF2-40B4-BE49-F238E27FC236}">
                  <a16:creationId xmlns:a16="http://schemas.microsoft.com/office/drawing/2014/main" id="{D259AE11-0983-0758-14F8-EB003555E8F2}"/>
                </a:ext>
              </a:extLst>
            </p:cNvPr>
            <p:cNvSpPr>
              <a:spLocks noChangeAspect="1"/>
            </p:cNvSpPr>
            <p:nvPr/>
          </p:nvSpPr>
          <p:spPr>
            <a:xfrm>
              <a:off x="717779" y="1922947"/>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descr="Skizze mit einfarbiger Füllung">
              <a:extLst>
                <a:ext uri="{FF2B5EF4-FFF2-40B4-BE49-F238E27FC236}">
                  <a16:creationId xmlns:a16="http://schemas.microsoft.com/office/drawing/2014/main" id="{6C8FF952-3EC7-3621-9715-A8405580AC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1986679"/>
              <a:ext cx="379044" cy="379044"/>
            </a:xfrm>
            <a:prstGeom prst="rect">
              <a:avLst/>
            </a:prstGeom>
          </p:spPr>
        </p:pic>
      </p:grpSp>
      <p:sp>
        <p:nvSpPr>
          <p:cNvPr id="7" name="Textfeld 11">
            <a:extLst>
              <a:ext uri="{FF2B5EF4-FFF2-40B4-BE49-F238E27FC236}">
                <a16:creationId xmlns:a16="http://schemas.microsoft.com/office/drawing/2014/main" id="{07FE0A57-54AD-B390-E2EF-ED5C0F840F7A}"/>
              </a:ext>
            </a:extLst>
          </p:cNvPr>
          <p:cNvSpPr txBox="1"/>
          <p:nvPr/>
        </p:nvSpPr>
        <p:spPr>
          <a:xfrm>
            <a:off x="953137" y="4179557"/>
            <a:ext cx="5919009" cy="447064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Key parts may include:</a:t>
            </a:r>
          </a:p>
          <a:p>
            <a:pPr marL="342900" marR="0" lvl="0" indent="-342900">
              <a:tabLst>
                <a:tab pos="457200" algn="l"/>
              </a:tabLst>
            </a:pPr>
            <a:endParaRPr lang="en-US" sz="1200" b="1" kern="100" dirty="0">
              <a:solidFill>
                <a:srgbClr val="FF0000"/>
              </a:solidFill>
              <a:latin typeface="Sofia Sans" panose="020B0604020202020204" charset="0"/>
              <a:ea typeface="Aptos" panose="020B0004020202020204" pitchFamily="34" charset="0"/>
              <a:cs typeface="Times New Roman" panose="02020603050405020304" pitchFamily="18" charset="0"/>
            </a:endParaRPr>
          </a:p>
          <a:p>
            <a:pPr marL="342900" marR="0" lvl="0" indent="-342900">
              <a:buFont typeface="+mj-lt"/>
              <a:buAutoNum type="arabicPeriod"/>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Blades or Buckets</a:t>
            </a:r>
            <a:r>
              <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 These catch the flowing water, making the wheel spin. Think of them like your hands catching water to splash — it’s how the water moves the wheel.</a:t>
            </a:r>
          </a:p>
          <a:p>
            <a:pPr marL="342900" marR="0" lvl="0" indent="-342900">
              <a:buFont typeface="+mj-lt"/>
              <a:buAutoNum type="arabicPeriod"/>
              <a:tabLst>
                <a:tab pos="457200" algn="l"/>
              </a:tabLst>
            </a:pPr>
            <a:endPar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marR="0" lvl="0" indent="-342900">
              <a:buFont typeface="+mj-lt"/>
              <a:buAutoNum type="arabicPeriod"/>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Wheel (Rotor)</a:t>
            </a:r>
            <a:r>
              <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 This is the round part of the water wheel that turns when water hits the blades. It's like the main body of your wheel.</a:t>
            </a:r>
          </a:p>
          <a:p>
            <a:pPr marL="342900" marR="0" lvl="0" indent="-342900">
              <a:buFont typeface="+mj-lt"/>
              <a:buAutoNum type="arabicPeriod"/>
              <a:tabLst>
                <a:tab pos="457200" algn="l"/>
              </a:tabLst>
            </a:pPr>
            <a:endPar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marR="0" lvl="0" indent="-342900">
              <a:buFont typeface="+mj-lt"/>
              <a:buAutoNum type="arabicPeriod"/>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Axle</a:t>
            </a:r>
            <a:r>
              <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 The rod in the middle of the wheel that spins as the wheel turns. This can connect to machines to make them work.</a:t>
            </a:r>
          </a:p>
          <a:p>
            <a:pPr marL="342900" marR="0" lvl="0" indent="-342900">
              <a:buFont typeface="+mj-lt"/>
              <a:buAutoNum type="arabicPeriod"/>
              <a:tabLst>
                <a:tab pos="457200" algn="l"/>
              </a:tabLst>
            </a:pPr>
            <a:endPar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marR="0" lvl="0" indent="-342900">
              <a:buFont typeface="+mj-lt"/>
              <a:buAutoNum type="arabicPeriod"/>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Supports or Frame</a:t>
            </a:r>
            <a:r>
              <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 The structure that holds the wheel steady and keeps it in place while it spins.</a:t>
            </a:r>
          </a:p>
          <a:p>
            <a:pPr marL="342900" marR="0" lvl="0" indent="-342900">
              <a:buFont typeface="+mj-lt"/>
              <a:buAutoNum type="arabicPeriod"/>
              <a:tabLst>
                <a:tab pos="457200" algn="l"/>
              </a:tabLst>
            </a:pPr>
            <a:endPar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342900" marR="0" lvl="0" indent="-342900">
              <a:buFont typeface="+mj-lt"/>
              <a:buAutoNum type="arabicPeriod"/>
              <a:tabLst>
                <a:tab pos="457200" algn="l"/>
              </a:tabLst>
            </a:pPr>
            <a:r>
              <a:rPr lang="en-US" sz="1200" b="1"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Water Source (Channel or Stream)</a:t>
            </a:r>
            <a:r>
              <a:rPr lang="en-US" sz="1200" kern="100" dirty="0">
                <a:solidFill>
                  <a:srgbClr val="FF0000"/>
                </a:solidFill>
                <a:effectLst/>
                <a:latin typeface="Sofia Sans" panose="020B0604020202020204" charset="0"/>
                <a:ea typeface="Aptos" panose="020B0004020202020204" pitchFamily="34" charset="0"/>
                <a:cs typeface="Times New Roman" panose="02020603050405020304" pitchFamily="18" charset="0"/>
              </a:rPr>
              <a:t>: Where the water comes from, like a river or stream, which gives the wheel its energy.</a:t>
            </a:r>
          </a:p>
        </p:txBody>
      </p:sp>
      <p:sp>
        <p:nvSpPr>
          <p:cNvPr id="3" name="Untertitel 5">
            <a:extLst>
              <a:ext uri="{FF2B5EF4-FFF2-40B4-BE49-F238E27FC236}">
                <a16:creationId xmlns:a16="http://schemas.microsoft.com/office/drawing/2014/main" id="{030F101F-D7EB-2849-949A-E0D0D7B012E7}"/>
              </a:ext>
            </a:extLst>
          </p:cNvPr>
          <p:cNvSpPr txBox="1">
            <a:spLocks/>
          </p:cNvSpPr>
          <p:nvPr/>
        </p:nvSpPr>
        <p:spPr>
          <a:xfrm>
            <a:off x="719138" y="1942345"/>
            <a:ext cx="4509187" cy="3060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lumMod val="75000"/>
                  </a:schemeClr>
                </a:solidFill>
              </a:rPr>
              <a:t>Task 1</a:t>
            </a:r>
          </a:p>
        </p:txBody>
      </p:sp>
      <p:sp>
        <p:nvSpPr>
          <p:cNvPr id="5" name="Untertitel 3">
            <a:extLst>
              <a:ext uri="{FF2B5EF4-FFF2-40B4-BE49-F238E27FC236}">
                <a16:creationId xmlns:a16="http://schemas.microsoft.com/office/drawing/2014/main" id="{E8F7342A-61B1-0943-B797-C0AD51A8AB2C}"/>
              </a:ext>
            </a:extLst>
          </p:cNvPr>
          <p:cNvSpPr txBox="1">
            <a:spLocks/>
          </p:cNvSpPr>
          <p:nvPr/>
        </p:nvSpPr>
        <p:spPr>
          <a:xfrm>
            <a:off x="719138" y="2376449"/>
            <a:ext cx="5919009" cy="154039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gn="l">
              <a:buClr>
                <a:schemeClr val="accent5"/>
              </a:buClr>
              <a:buSzPct val="121000"/>
            </a:pPr>
            <a:r>
              <a:rPr lang="en-US" sz="1150" b="0" i="0">
                <a:solidFill>
                  <a:schemeClr val="tx1">
                    <a:lumMod val="50000"/>
                  </a:schemeClr>
                </a:solidFill>
                <a:effectLst/>
                <a:latin typeface="Sofia Sans" panose="020B0604020202020204" charset="0"/>
              </a:rPr>
              <a:t>Carefully examine the water wheel you have built. Observe its structure closely and reflect on how it operates.</a:t>
            </a:r>
            <a:endParaRPr lang="de-DE"/>
          </a:p>
          <a:p>
            <a:pPr algn="l"/>
            <a:endParaRPr lang="en-US" sz="1150" b="0" i="0">
              <a:solidFill>
                <a:schemeClr val="tx1">
                  <a:lumMod val="50000"/>
                </a:schemeClr>
              </a:solidFill>
              <a:effectLst/>
              <a:latin typeface="Sofia Sans" panose="020B0604020202020204" charset="0"/>
            </a:endParaRPr>
          </a:p>
          <a:p>
            <a:pPr algn="l"/>
            <a:r>
              <a:rPr lang="en-US" sz="1150" b="1" i="0">
                <a:solidFill>
                  <a:schemeClr val="tx1">
                    <a:lumMod val="50000"/>
                  </a:schemeClr>
                </a:solidFill>
                <a:effectLst/>
              </a:rPr>
              <a:t>Question</a:t>
            </a:r>
          </a:p>
          <a:p>
            <a:pPr algn="l"/>
            <a:endParaRPr lang="en-US" sz="1150">
              <a:solidFill>
                <a:schemeClr val="tx1">
                  <a:lumMod val="50000"/>
                </a:schemeClr>
              </a:solidFill>
              <a:latin typeface="Sofia Sans" panose="020B0604020202020204" charset="0"/>
            </a:endParaRPr>
          </a:p>
          <a:p>
            <a:pPr marL="368300" indent="-228600" algn="l">
              <a:buClr>
                <a:schemeClr val="accent5"/>
              </a:buClr>
              <a:buSzPct val="121000"/>
              <a:buAutoNum type="arabicPeriod"/>
            </a:pPr>
            <a:r>
              <a:rPr lang="en-US" sz="1150" b="0" i="0">
                <a:solidFill>
                  <a:schemeClr val="tx1">
                    <a:lumMod val="50000"/>
                  </a:schemeClr>
                </a:solidFill>
                <a:effectLst/>
                <a:latin typeface="Sofia Sans" panose="020B0604020202020204" charset="0"/>
              </a:rPr>
              <a:t>Which parts do you think are the most important for its operation? Explain your reasoning.</a:t>
            </a:r>
            <a:endParaRPr lang="en-US" sz="1150">
              <a:latin typeface="Sofia Sans" panose="020B0604020202020204" charset="0"/>
            </a:endParaRPr>
          </a:p>
        </p:txBody>
      </p:sp>
      <p:pic>
        <p:nvPicPr>
          <p:cNvPr id="8" name="Grafik 7" descr="Ein Bild, das Schwarz, Dunkelheit enthält.&#10;&#10;Automatisch generierte Beschreibung">
            <a:extLst>
              <a:ext uri="{FF2B5EF4-FFF2-40B4-BE49-F238E27FC236}">
                <a16:creationId xmlns:a16="http://schemas.microsoft.com/office/drawing/2014/main" id="{4047EBF1-6F8E-25AC-5CDE-0F150AD37FCF}"/>
              </a:ext>
            </a:extLst>
          </p:cNvPr>
          <p:cNvPicPr>
            <a:picLocks noChangeAspect="1"/>
          </p:cNvPicPr>
          <p:nvPr/>
        </p:nvPicPr>
        <p:blipFill>
          <a:blip r:embed="rId4"/>
          <a:stretch>
            <a:fillRect/>
          </a:stretch>
        </p:blipFill>
        <p:spPr>
          <a:xfrm>
            <a:off x="5371877" y="981572"/>
            <a:ext cx="816217" cy="814062"/>
          </a:xfrm>
          <a:prstGeom prst="rect">
            <a:avLst/>
          </a:prstGeom>
        </p:spPr>
      </p:pic>
    </p:spTree>
    <p:extLst>
      <p:ext uri="{BB962C8B-B14F-4D97-AF65-F5344CB8AC3E}">
        <p14:creationId xmlns:p14="http://schemas.microsoft.com/office/powerpoint/2010/main" val="5150904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D1EC9-D589-A5CA-002A-0023504ADFCE}"/>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797FF32-DB71-8353-7304-157540217025}"/>
              </a:ext>
            </a:extLst>
          </p:cNvPr>
          <p:cNvSpPr>
            <a:spLocks noGrp="1"/>
          </p:cNvSpPr>
          <p:nvPr>
            <p:ph type="sldNum" sz="quarter" idx="16"/>
          </p:nvPr>
        </p:nvSpPr>
        <p:spPr/>
        <p:txBody>
          <a:bodyPr/>
          <a:lstStyle/>
          <a:p>
            <a:fld id="{DF7F771E-9578-4C04-B869-01AF4C35C90C}" type="slidenum">
              <a:rPr lang="de-DE" smtClean="0"/>
              <a:t>44</a:t>
            </a:fld>
            <a:endParaRPr lang="de-DE"/>
          </a:p>
        </p:txBody>
      </p:sp>
      <p:sp>
        <p:nvSpPr>
          <p:cNvPr id="7" name="Textfeld 11">
            <a:extLst>
              <a:ext uri="{FF2B5EF4-FFF2-40B4-BE49-F238E27FC236}">
                <a16:creationId xmlns:a16="http://schemas.microsoft.com/office/drawing/2014/main" id="{66A095B1-43A5-2352-3056-3071256ECC96}"/>
              </a:ext>
            </a:extLst>
          </p:cNvPr>
          <p:cNvSpPr txBox="1"/>
          <p:nvPr/>
        </p:nvSpPr>
        <p:spPr>
          <a:xfrm>
            <a:off x="868974" y="3882038"/>
            <a:ext cx="5919009" cy="5767800"/>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b="0" i="0" dirty="0">
                <a:solidFill>
                  <a:srgbClr val="FF0000"/>
                </a:solidFill>
                <a:effectLst/>
                <a:latin typeface="Sofia Sans"/>
              </a:rPr>
              <a:t>1. </a:t>
            </a:r>
          </a:p>
          <a:p>
            <a:r>
              <a:rPr lang="en-US" sz="1200" b="0" i="0" dirty="0">
                <a:solidFill>
                  <a:srgbClr val="FF0000"/>
                </a:solidFill>
                <a:effectLst/>
                <a:latin typeface="Sofia Sans"/>
              </a:rPr>
              <a:t>Buckets are the most important part to make a water wheel work …</a:t>
            </a:r>
          </a:p>
          <a:p>
            <a:endParaRPr lang="en-US" sz="1200" dirty="0">
              <a:solidFill>
                <a:srgbClr val="FF0000"/>
              </a:solidFill>
              <a:latin typeface="Sofia Sans" panose="020B0604020202020204" charset="0"/>
            </a:endParaRPr>
          </a:p>
          <a:p>
            <a:r>
              <a:rPr lang="en-US" sz="1200" dirty="0">
                <a:solidFill>
                  <a:srgbClr val="FF0000"/>
                </a:solidFill>
                <a:latin typeface="Sofia Sans"/>
              </a:rPr>
              <a:t>… </a:t>
            </a:r>
            <a:r>
              <a:rPr lang="en-US" sz="1200" b="0" i="0" dirty="0">
                <a:solidFill>
                  <a:srgbClr val="FF0000"/>
                </a:solidFill>
                <a:effectLst/>
                <a:latin typeface="Sofia Sans"/>
              </a:rPr>
              <a:t>because they are the parts that interact directly with the water, capturing its energy and transferring it to the wheel. The buckets "catch" the water and create the force needed to turn the wheel. Therefore, you could say the buckets “grab” the energy from the water, “hold onto it” for a certain amoun</a:t>
            </a:r>
            <a:r>
              <a:rPr lang="en-US" sz="1200" dirty="0">
                <a:solidFill>
                  <a:srgbClr val="FF0000"/>
                </a:solidFill>
                <a:latin typeface="Sofia Sans"/>
              </a:rPr>
              <a:t>t of time</a:t>
            </a:r>
            <a:r>
              <a:rPr lang="en-US" sz="1200" b="0" i="0" dirty="0">
                <a:solidFill>
                  <a:srgbClr val="FF0000"/>
                </a:solidFill>
                <a:effectLst/>
                <a:latin typeface="Sofia Sans"/>
              </a:rPr>
              <a:t> and eventually turn it into movement of the whole water wheel.</a:t>
            </a:r>
          </a:p>
          <a:p>
            <a:endParaRPr lang="en-US" sz="1200" dirty="0">
              <a:solidFill>
                <a:srgbClr val="FF0000"/>
              </a:solidFill>
              <a:latin typeface="Sofia Sans" panose="020B0604020202020204" charset="0"/>
            </a:endParaRPr>
          </a:p>
          <a:p>
            <a:r>
              <a:rPr lang="en-US" sz="1200" b="0" i="0" dirty="0">
                <a:solidFill>
                  <a:srgbClr val="FF0000"/>
                </a:solidFill>
                <a:effectLst/>
                <a:latin typeface="Sofia Sans"/>
              </a:rPr>
              <a:t>Recall Windmill: The windmill uses its blades to catch the wind to spin. The buckets on a water wheel do the same thing, but with water instead of wind.</a:t>
            </a:r>
          </a:p>
          <a:p>
            <a:endParaRPr lang="en-US" sz="1200" dirty="0">
              <a:solidFill>
                <a:srgbClr val="FF0000"/>
              </a:solidFill>
              <a:latin typeface="Sofia Sans" panose="020B0604020202020204" charset="0"/>
            </a:endParaRPr>
          </a:p>
          <a:p>
            <a:endParaRPr lang="en-US" sz="1200" dirty="0">
              <a:solidFill>
                <a:srgbClr val="FF0000"/>
              </a:solidFill>
              <a:latin typeface="Sofia Sans" panose="020B0604020202020204" charset="0"/>
            </a:endParaRPr>
          </a:p>
          <a:p>
            <a:r>
              <a:rPr lang="en-US" sz="1200" b="0" i="0" dirty="0">
                <a:solidFill>
                  <a:srgbClr val="FF0000"/>
                </a:solidFill>
                <a:latin typeface="Sofia Sans"/>
              </a:rPr>
              <a:t>2</a:t>
            </a:r>
            <a:r>
              <a:rPr lang="en-US" sz="1200" dirty="0">
                <a:solidFill>
                  <a:srgbClr val="FF0000"/>
                </a:solidFill>
                <a:latin typeface="Sofia Sans"/>
              </a:rPr>
              <a:t>. </a:t>
            </a:r>
          </a:p>
          <a:p>
            <a:pPr>
              <a:tabLst>
                <a:tab pos="457200" algn="l"/>
              </a:tabLst>
            </a:pPr>
            <a:r>
              <a:rPr lang="en-US" sz="1200" b="1" dirty="0">
                <a:solidFill>
                  <a:srgbClr val="FF0000"/>
                </a:solidFill>
                <a:latin typeface="Sofia Sans"/>
              </a:rPr>
              <a:t>Shape and Size</a:t>
            </a:r>
            <a:r>
              <a:rPr lang="en-US" sz="1200" dirty="0">
                <a:solidFill>
                  <a:srgbClr val="FF0000"/>
                </a:solidFill>
                <a:latin typeface="Sofia Sans"/>
              </a:rPr>
              <a:t>: A curved or deep bucket holds water better, like a spoon compared to a flat plate. Curved buckets prevent water from spilling out quickly, giving the wheel more time to spin.</a:t>
            </a:r>
          </a:p>
          <a:p>
            <a:pPr>
              <a:tabLst>
                <a:tab pos="457200" algn="l"/>
              </a:tabLst>
            </a:pPr>
            <a:r>
              <a:rPr lang="en-US" sz="1200" b="1" dirty="0">
                <a:solidFill>
                  <a:srgbClr val="FF0000"/>
                </a:solidFill>
                <a:latin typeface="Sofia Sans"/>
              </a:rPr>
              <a:t>Placement</a:t>
            </a:r>
            <a:r>
              <a:rPr lang="en-US" sz="1200" dirty="0">
                <a:solidFill>
                  <a:srgbClr val="FF0000"/>
                </a:solidFill>
                <a:latin typeface="Sofia Sans"/>
              </a:rPr>
              <a:t>: Buckets spaced evenly around the wheel help balance the forces, making the wheel spin smoothly without wobbling.</a:t>
            </a:r>
          </a:p>
          <a:p>
            <a:pPr>
              <a:tabLst>
                <a:tab pos="457200" algn="l"/>
              </a:tabLst>
            </a:pPr>
            <a:r>
              <a:rPr lang="en-US" sz="1200" b="1" dirty="0">
                <a:solidFill>
                  <a:srgbClr val="FF0000"/>
                </a:solidFill>
                <a:latin typeface="Sofia Sans"/>
              </a:rPr>
              <a:t>Angle</a:t>
            </a:r>
            <a:r>
              <a:rPr lang="en-US" sz="1200" dirty="0">
                <a:solidFill>
                  <a:srgbClr val="FF0000"/>
                </a:solidFill>
                <a:latin typeface="Sofia Sans"/>
              </a:rPr>
              <a:t>: Adjusting the angle of the buckets can make them catch water more effectively. If they are tilted too much, the water might spill out; if they’re too flat, they won’t catch enough water.</a:t>
            </a:r>
          </a:p>
          <a:p>
            <a:pPr marL="342900" indent="-342900">
              <a:buFont typeface="Arial" panose="020B0604020202020204" pitchFamily="34" charset="0"/>
              <a:buChar char="•"/>
              <a:tabLst>
                <a:tab pos="457200" algn="l"/>
              </a:tabLst>
            </a:pPr>
            <a:endParaRPr lang="en-US" sz="1200" dirty="0">
              <a:solidFill>
                <a:srgbClr val="FF0000"/>
              </a:solidFill>
              <a:latin typeface="Sofia Sans" panose="020B0604020202020204" charset="0"/>
            </a:endParaRPr>
          </a:p>
          <a:p>
            <a:pPr>
              <a:tabLst>
                <a:tab pos="457200" algn="l"/>
              </a:tabLst>
            </a:pPr>
            <a:endParaRPr lang="en-US" sz="1200" dirty="0">
              <a:solidFill>
                <a:srgbClr val="FF0000"/>
              </a:solidFill>
              <a:latin typeface="Sofia Sans" panose="020B0604020202020204" charset="0"/>
            </a:endParaRPr>
          </a:p>
          <a:p>
            <a:pPr>
              <a:tabLst>
                <a:tab pos="457200" algn="l"/>
              </a:tabLst>
            </a:pPr>
            <a:r>
              <a:rPr lang="en-US" sz="1200" dirty="0">
                <a:solidFill>
                  <a:srgbClr val="FF0000"/>
                </a:solidFill>
                <a:latin typeface="Sofia Sans"/>
              </a:rPr>
              <a:t>3. </a:t>
            </a:r>
          </a:p>
          <a:p>
            <a:pPr>
              <a:tabLst>
                <a:tab pos="457200" algn="l"/>
              </a:tabLst>
            </a:pPr>
            <a:r>
              <a:rPr lang="en-US" sz="1200" dirty="0">
                <a:solidFill>
                  <a:srgbClr val="FF0000"/>
                </a:solidFill>
                <a:latin typeface="Sofia Sans"/>
              </a:rPr>
              <a:t>The water stream:</a:t>
            </a:r>
          </a:p>
          <a:p>
            <a:pPr marL="342900" marR="0" lvl="0" indent="-342900">
              <a:tabLst>
                <a:tab pos="457200" algn="l"/>
              </a:tabLst>
            </a:pPr>
            <a:endParaRPr lang="en-US" sz="1200" dirty="0">
              <a:solidFill>
                <a:srgbClr val="FF0000"/>
              </a:solidFill>
              <a:latin typeface="Sofia Sans" panose="020B0604020202020204" charset="0"/>
            </a:endParaRPr>
          </a:p>
          <a:p>
            <a:pPr marR="0" lvl="0">
              <a:tabLst>
                <a:tab pos="457200" algn="l"/>
              </a:tabLst>
            </a:pPr>
            <a:r>
              <a:rPr lang="en-US" sz="1200" b="1" dirty="0">
                <a:solidFill>
                  <a:srgbClr val="FF0000"/>
                </a:solidFill>
                <a:latin typeface="Sofia Sans"/>
              </a:rPr>
              <a:t>Direction of the water stream: </a:t>
            </a:r>
            <a:r>
              <a:rPr lang="en-US" sz="1200" dirty="0">
                <a:solidFill>
                  <a:srgbClr val="FF0000"/>
                </a:solidFill>
                <a:latin typeface="Sofia Sans"/>
              </a:rPr>
              <a:t>aimed perfectly into the buckets, so it gives the water wheel the best “push”.</a:t>
            </a:r>
          </a:p>
          <a:p>
            <a:pPr marR="0" lvl="0">
              <a:tabLst>
                <a:tab pos="457200" algn="l"/>
              </a:tabLst>
            </a:pPr>
            <a:r>
              <a:rPr lang="en-US" sz="1200" b="1" dirty="0">
                <a:solidFill>
                  <a:srgbClr val="FF0000"/>
                </a:solidFill>
                <a:latin typeface="Sofia Sans"/>
              </a:rPr>
              <a:t>Amount of water (Volume): </a:t>
            </a:r>
            <a:r>
              <a:rPr lang="en-US" sz="1200" dirty="0">
                <a:solidFill>
                  <a:srgbClr val="FF0000"/>
                </a:solidFill>
                <a:latin typeface="Sofia Sans"/>
              </a:rPr>
              <a:t>The more water in the stream, the more power it has! If all your buckets are filled up exactly 100% each time the buckets carry 100% of the weight, hence can provide more power.</a:t>
            </a:r>
          </a:p>
          <a:p>
            <a:pPr marR="0" lvl="0">
              <a:tabLst>
                <a:tab pos="457200" algn="l"/>
              </a:tabLst>
            </a:pPr>
            <a:r>
              <a:rPr lang="en-US" sz="1200" b="1" dirty="0">
                <a:solidFill>
                  <a:srgbClr val="FF0000"/>
                </a:solidFill>
                <a:latin typeface="Sofia Sans"/>
              </a:rPr>
              <a:t>Strength of the Water Stream (flow speed): </a:t>
            </a:r>
            <a:r>
              <a:rPr lang="en-US" sz="1200" dirty="0">
                <a:solidFill>
                  <a:srgbClr val="FF0000"/>
                </a:solidFill>
                <a:latin typeface="Sofia Sans"/>
              </a:rPr>
              <a:t>the faster the water moves, the stronger its push on the buckets. </a:t>
            </a:r>
            <a:endParaRPr lang="en-US" sz="1200" b="1" dirty="0">
              <a:solidFill>
                <a:srgbClr val="FF0000"/>
              </a:solidFill>
              <a:latin typeface="Sofia Sans"/>
            </a:endParaRPr>
          </a:p>
          <a:p>
            <a:pPr marR="0" lvl="0">
              <a:tabLst>
                <a:tab pos="457200" algn="l"/>
              </a:tabLst>
            </a:pPr>
            <a:r>
              <a:rPr lang="en-US" sz="1200" b="1" dirty="0">
                <a:solidFill>
                  <a:srgbClr val="FF0000"/>
                </a:solidFill>
                <a:latin typeface="Sofia Sans"/>
              </a:rPr>
              <a:t>Consistency of the water stream</a:t>
            </a:r>
          </a:p>
          <a:p>
            <a:pPr marL="342900" indent="-342900">
              <a:buFont typeface="Arial" panose="020B0604020202020204" pitchFamily="34" charset="0"/>
              <a:buChar char="•"/>
              <a:tabLst>
                <a:tab pos="457200" algn="l"/>
              </a:tabLst>
            </a:pPr>
            <a:endParaRPr lang="en-US" sz="1200" dirty="0">
              <a:solidFill>
                <a:srgbClr val="FF0000"/>
              </a:solidFill>
              <a:latin typeface="Sofia Sans" panose="020B0604020202020204" charset="0"/>
            </a:endParaRPr>
          </a:p>
          <a:p>
            <a:pPr>
              <a:tabLst>
                <a:tab pos="457200" algn="l"/>
              </a:tabLst>
            </a:pPr>
            <a:endParaRPr lang="en-US" sz="1200" dirty="0">
              <a:solidFill>
                <a:srgbClr val="FF0000"/>
              </a:solidFill>
              <a:latin typeface="Sofia Sans" panose="020B0604020202020204" charset="0"/>
            </a:endParaRPr>
          </a:p>
        </p:txBody>
      </p:sp>
      <p:sp>
        <p:nvSpPr>
          <p:cNvPr id="3" name="Untertitel 5">
            <a:extLst>
              <a:ext uri="{FF2B5EF4-FFF2-40B4-BE49-F238E27FC236}">
                <a16:creationId xmlns:a16="http://schemas.microsoft.com/office/drawing/2014/main" id="{FD0CFF64-210E-F946-0EBE-2470A23B8FDF}"/>
              </a:ext>
            </a:extLst>
          </p:cNvPr>
          <p:cNvSpPr txBox="1">
            <a:spLocks/>
          </p:cNvSpPr>
          <p:nvPr/>
        </p:nvSpPr>
        <p:spPr>
          <a:xfrm>
            <a:off x="744222" y="128766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9" name="Untertitel 3">
            <a:extLst>
              <a:ext uri="{FF2B5EF4-FFF2-40B4-BE49-F238E27FC236}">
                <a16:creationId xmlns:a16="http://schemas.microsoft.com/office/drawing/2014/main" id="{BC4B96BF-BFA7-CECC-9945-5F192E68AE35}"/>
              </a:ext>
            </a:extLst>
          </p:cNvPr>
          <p:cNvSpPr txBox="1">
            <a:spLocks/>
          </p:cNvSpPr>
          <p:nvPr/>
        </p:nvSpPr>
        <p:spPr>
          <a:xfrm>
            <a:off x="744222" y="1706306"/>
            <a:ext cx="6043761" cy="18298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l">
              <a:buClr>
                <a:schemeClr val="accent5"/>
              </a:buClr>
              <a:buSzPct val="121000"/>
              <a:buFont typeface="Arial" panose="020B0604020202020204" pitchFamily="34" charset="0"/>
              <a:buChar char="•"/>
            </a:pPr>
            <a:r>
              <a:rPr lang="en-US" sz="1200" b="0" i="0">
                <a:solidFill>
                  <a:schemeClr val="tx1">
                    <a:lumMod val="50000"/>
                  </a:schemeClr>
                </a:solidFill>
                <a:effectLst/>
                <a:latin typeface="Sofia Sans" panose="020B0604020202020204" charset="0"/>
              </a:rPr>
              <a:t>Take a closer look at the buckets on your water wheel. </a:t>
            </a:r>
          </a:p>
          <a:p>
            <a:pPr algn="l">
              <a:buClr>
                <a:schemeClr val="accent5"/>
              </a:buClr>
              <a:buSzPct val="121000"/>
              <a:buFont typeface="Arial" panose="020B0604020202020204" pitchFamily="34" charset="0"/>
              <a:buChar char="•"/>
            </a:pPr>
            <a:r>
              <a:rPr lang="en-US" sz="1200">
                <a:solidFill>
                  <a:schemeClr val="tx1">
                    <a:lumMod val="50000"/>
                  </a:schemeClr>
                </a:solidFill>
                <a:latin typeface="Sofia Sans" panose="020B0604020202020204" charset="0"/>
              </a:rPr>
              <a:t>Imagine how they work when water flows into them. </a:t>
            </a:r>
          </a:p>
          <a:p>
            <a:pPr algn="l"/>
            <a:endParaRPr lang="en-US" sz="1200" b="0" i="0">
              <a:solidFill>
                <a:schemeClr val="tx1">
                  <a:lumMod val="50000"/>
                </a:schemeClr>
              </a:solidFill>
              <a:effectLst/>
              <a:latin typeface="Sofia Sans" panose="020B0604020202020204" charset="0"/>
            </a:endParaRPr>
          </a:p>
          <a:p>
            <a:pPr algn="l"/>
            <a:r>
              <a:rPr lang="en-US" sz="1200" b="1">
                <a:solidFill>
                  <a:schemeClr val="tx1">
                    <a:lumMod val="50000"/>
                  </a:schemeClr>
                </a:solidFill>
                <a:latin typeface="Sofia Sans" panose="020B0604020202020204" charset="0"/>
              </a:rPr>
              <a:t>Questions</a:t>
            </a:r>
            <a:endParaRPr lang="en-US" sz="1200">
              <a:solidFill>
                <a:schemeClr val="tx1">
                  <a:lumMod val="50000"/>
                </a:schemeClr>
              </a:solidFill>
              <a:latin typeface="Sofia Sans" panose="020B0604020202020204" charset="0"/>
            </a:endParaRPr>
          </a:p>
          <a:p>
            <a:pPr>
              <a:buClr>
                <a:schemeClr val="accent5"/>
              </a:buClr>
              <a:buSzPct val="121000"/>
              <a:buFont typeface="+mj-lt"/>
              <a:buAutoNum type="arabicPeriod"/>
            </a:pPr>
            <a:r>
              <a:rPr lang="en-US" sz="1200">
                <a:solidFill>
                  <a:schemeClr val="tx1">
                    <a:lumMod val="50000"/>
                  </a:schemeClr>
                </a:solidFill>
                <a:latin typeface="Sofia Sans" panose="020B0604020202020204" charset="0"/>
              </a:rPr>
              <a:t>Why are the buckets the most important part for making the water wheel work well?</a:t>
            </a:r>
          </a:p>
          <a:p>
            <a:pPr>
              <a:buClr>
                <a:schemeClr val="accent5"/>
              </a:buClr>
              <a:buSzPct val="121000"/>
              <a:buFont typeface="+mj-lt"/>
              <a:buAutoNum type="arabicPeriod"/>
            </a:pPr>
            <a:r>
              <a:rPr lang="en-US" sz="1200">
                <a:solidFill>
                  <a:schemeClr val="tx1">
                    <a:lumMod val="50000"/>
                  </a:schemeClr>
                </a:solidFill>
                <a:latin typeface="Sofia Sans" panose="020B0604020202020204" charset="0"/>
              </a:rPr>
              <a:t>How can the buckets be made such that they work more efficiently/provide more power?</a:t>
            </a:r>
          </a:p>
          <a:p>
            <a:pPr>
              <a:buClr>
                <a:schemeClr val="accent5"/>
              </a:buClr>
              <a:buSzPct val="121000"/>
              <a:buFont typeface="+mj-lt"/>
              <a:buAutoNum type="arabicPeriod"/>
            </a:pPr>
            <a:r>
              <a:rPr lang="en-US" sz="1200">
                <a:solidFill>
                  <a:schemeClr val="tx1">
                    <a:lumMod val="50000"/>
                  </a:schemeClr>
                </a:solidFill>
                <a:latin typeface="Sofia Sans" panose="020B0604020202020204" charset="0"/>
              </a:rPr>
              <a:t>What else is a crucial parameter to get more power from a water wheel?</a:t>
            </a:r>
          </a:p>
        </p:txBody>
      </p:sp>
    </p:spTree>
    <p:extLst>
      <p:ext uri="{BB962C8B-B14F-4D97-AF65-F5344CB8AC3E}">
        <p14:creationId xmlns:p14="http://schemas.microsoft.com/office/powerpoint/2010/main" val="37293105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D7D44-E3D7-AD34-D2DB-50C9FAE7AEDD}"/>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C8CE7081-9DF3-390B-0283-4628B14021B2}"/>
              </a:ext>
            </a:extLst>
          </p:cNvPr>
          <p:cNvSpPr>
            <a:spLocks noGrp="1"/>
          </p:cNvSpPr>
          <p:nvPr>
            <p:ph type="sldNum" sz="quarter" idx="16"/>
          </p:nvPr>
        </p:nvSpPr>
        <p:spPr/>
        <p:txBody>
          <a:bodyPr/>
          <a:lstStyle/>
          <a:p>
            <a:fld id="{DF7F771E-9578-4C04-B869-01AF4C35C90C}" type="slidenum">
              <a:rPr lang="de-DE" smtClean="0"/>
              <a:t>45</a:t>
            </a:fld>
            <a:endParaRPr lang="de-DE"/>
          </a:p>
        </p:txBody>
      </p:sp>
      <p:sp>
        <p:nvSpPr>
          <p:cNvPr id="9" name="Rechteck 1">
            <a:extLst>
              <a:ext uri="{FF2B5EF4-FFF2-40B4-BE49-F238E27FC236}">
                <a16:creationId xmlns:a16="http://schemas.microsoft.com/office/drawing/2014/main" id="{1F0B753B-5691-2C3C-90F5-BC21BD77C72E}"/>
              </a:ext>
            </a:extLst>
          </p:cNvPr>
          <p:cNvSpPr/>
          <p:nvPr/>
        </p:nvSpPr>
        <p:spPr>
          <a:xfrm>
            <a:off x="719138" y="1596645"/>
            <a:ext cx="5740172" cy="8078577"/>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5403BB13-0661-D38E-23E6-F09AAF6CE6C9}"/>
              </a:ext>
            </a:extLst>
          </p:cNvPr>
          <p:cNvSpPr>
            <a:spLocks noChangeAspect="1"/>
          </p:cNvSpPr>
          <p:nvPr/>
        </p:nvSpPr>
        <p:spPr>
          <a:xfrm>
            <a:off x="612923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3A15644F-AE24-E3B2-E5E1-93EEF5B094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7085" y="1405785"/>
            <a:ext cx="404450" cy="404450"/>
          </a:xfrm>
          <a:prstGeom prst="rect">
            <a:avLst/>
          </a:prstGeom>
        </p:spPr>
      </p:pic>
      <p:sp>
        <p:nvSpPr>
          <p:cNvPr id="12" name="Untertitel 5">
            <a:extLst>
              <a:ext uri="{FF2B5EF4-FFF2-40B4-BE49-F238E27FC236}">
                <a16:creationId xmlns:a16="http://schemas.microsoft.com/office/drawing/2014/main" id="{6EC98347-9BA7-10AB-6E3D-3924D0ECAE8D}"/>
              </a:ext>
            </a:extLst>
          </p:cNvPr>
          <p:cNvSpPr txBox="1">
            <a:spLocks/>
          </p:cNvSpPr>
          <p:nvPr/>
        </p:nvSpPr>
        <p:spPr>
          <a:xfrm>
            <a:off x="89442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F6A8D2D9-200F-37F5-8EE2-E53B8E4E2157}"/>
              </a:ext>
            </a:extLst>
          </p:cNvPr>
          <p:cNvSpPr>
            <a:spLocks noGrp="1"/>
          </p:cNvSpPr>
          <p:nvPr>
            <p:ph type="subTitle" idx="1"/>
          </p:nvPr>
        </p:nvSpPr>
        <p:spPr>
          <a:xfrm>
            <a:off x="907683" y="2214542"/>
            <a:ext cx="5281980" cy="6987430"/>
          </a:xfrm>
        </p:spPr>
        <p:txBody>
          <a:bodyPr/>
          <a:lstStyle/>
          <a:p>
            <a:pPr marL="139700" indent="0"/>
            <a:r>
              <a:rPr lang="en-US" sz="1200" b="1"/>
              <a:t>Key Parts of the Water Wheel are:</a:t>
            </a:r>
          </a:p>
          <a:p>
            <a:pPr>
              <a:buClr>
                <a:schemeClr val="accent5"/>
              </a:buClr>
              <a:buFont typeface="Arial" panose="020B0604020202020204" pitchFamily="34" charset="0"/>
              <a:buChar char="•"/>
            </a:pPr>
            <a:r>
              <a:rPr lang="en-US" sz="1200" b="1"/>
              <a:t>Blades or Buckets</a:t>
            </a:r>
            <a:r>
              <a:rPr lang="en-US" sz="1200"/>
              <a:t>: Capture the flowing water, causing the wheel to spin.</a:t>
            </a:r>
          </a:p>
          <a:p>
            <a:pPr>
              <a:buClr>
                <a:schemeClr val="accent5"/>
              </a:buClr>
              <a:buFont typeface="Arial" panose="020B0604020202020204" pitchFamily="34" charset="0"/>
              <a:buChar char="•"/>
            </a:pPr>
            <a:r>
              <a:rPr lang="en-US" sz="1200" b="1"/>
              <a:t>Wheel (Rotor</a:t>
            </a:r>
            <a:r>
              <a:rPr lang="en-US" sz="1200"/>
              <a:t>): Holds the buckets and transfers motion.</a:t>
            </a:r>
          </a:p>
          <a:p>
            <a:pPr>
              <a:buClr>
                <a:schemeClr val="accent5"/>
              </a:buClr>
              <a:buFont typeface="Arial" panose="020B0604020202020204" pitchFamily="34" charset="0"/>
              <a:buChar char="•"/>
            </a:pPr>
            <a:r>
              <a:rPr lang="en-US" sz="1200" b="1"/>
              <a:t>Axle: </a:t>
            </a:r>
            <a:r>
              <a:rPr lang="en-US" sz="1200"/>
              <a:t>The central rod around which the wheel rotates.</a:t>
            </a:r>
          </a:p>
          <a:p>
            <a:pPr>
              <a:buClr>
                <a:schemeClr val="accent5"/>
              </a:buClr>
              <a:buFont typeface="Arial" panose="020B0604020202020204" pitchFamily="34" charset="0"/>
              <a:buChar char="•"/>
            </a:pPr>
            <a:r>
              <a:rPr lang="en-US" sz="1200" b="1"/>
              <a:t>Supports/Frame: </a:t>
            </a:r>
            <a:r>
              <a:rPr lang="en-US" sz="1200"/>
              <a:t>Keeps the wheel stable and secure.</a:t>
            </a:r>
          </a:p>
          <a:p>
            <a:pPr marL="139700" indent="0"/>
            <a:endParaRPr lang="en-US" sz="1200"/>
          </a:p>
          <a:p>
            <a:pPr marL="139700" indent="0"/>
            <a:r>
              <a:rPr lang="en-US" sz="1200" b="1"/>
              <a:t>Important Factors:</a:t>
            </a:r>
          </a:p>
          <a:p>
            <a:pPr>
              <a:buClr>
                <a:schemeClr val="accent5"/>
              </a:buClr>
              <a:buFont typeface="Arial" panose="020B0604020202020204" pitchFamily="34" charset="0"/>
              <a:buChar char="•"/>
            </a:pPr>
            <a:r>
              <a:rPr lang="en-US" sz="1200"/>
              <a:t>Buckets are the most important part because they directly interact with the water, capturing its energy and transferring it to the wheel. Their efficiency can be improved by optimizing their shape, size, placement, and angle.</a:t>
            </a:r>
          </a:p>
          <a:p>
            <a:pPr>
              <a:buClr>
                <a:schemeClr val="accent5"/>
              </a:buClr>
              <a:buFont typeface="Arial" panose="020B0604020202020204" pitchFamily="34" charset="0"/>
              <a:buChar char="•"/>
            </a:pPr>
            <a:r>
              <a:rPr lang="en-US" sz="1200"/>
              <a:t>The direction of the water stream is crucial for optimal performance.</a:t>
            </a:r>
          </a:p>
          <a:p>
            <a:pPr>
              <a:buClr>
                <a:schemeClr val="accent5"/>
              </a:buClr>
              <a:buFont typeface="Arial" panose="020B0604020202020204" pitchFamily="34" charset="0"/>
              <a:buChar char="•"/>
            </a:pPr>
            <a:r>
              <a:rPr lang="en-US" sz="1200"/>
              <a:t>A water wheel works best with high-volume, low-head water flow.</a:t>
            </a:r>
          </a:p>
          <a:p>
            <a:pPr>
              <a:buFont typeface="Arial" panose="020B0604020202020204" pitchFamily="34" charset="0"/>
              <a:buChar char="•"/>
            </a:pPr>
            <a:endParaRPr lang="en-US" sz="1200"/>
          </a:p>
          <a:p>
            <a:pPr marL="139700" indent="0"/>
            <a:r>
              <a:rPr lang="en-US" sz="1200" b="1"/>
              <a:t>Formula for Energy:</a:t>
            </a:r>
          </a:p>
          <a:p>
            <a:pPr marL="311150" indent="-171450">
              <a:buClr>
                <a:schemeClr val="accent5"/>
              </a:buClr>
              <a:buFont typeface="Arial" panose="020B0604020202020204" pitchFamily="34" charset="0"/>
              <a:buChar char="•"/>
            </a:pPr>
            <a:r>
              <a:rPr lang="en-US" sz="1200">
                <a:solidFill>
                  <a:schemeClr val="tx1"/>
                </a:solidFill>
              </a:rPr>
              <a:t>In Words</a:t>
            </a:r>
            <a:r>
              <a:rPr lang="en-US" sz="1200"/>
              <a:t>:</a:t>
            </a:r>
          </a:p>
          <a:p>
            <a:pPr marL="139700" indent="0" algn="ctr"/>
            <a:r>
              <a:rPr lang="en-US" sz="1200"/>
              <a:t>Energy = Density (p) * Volume (V) * Gravity (g) * Height (h)</a:t>
            </a:r>
          </a:p>
          <a:p>
            <a:pPr marL="139700" indent="0"/>
            <a:endParaRPr lang="en-US" sz="1200"/>
          </a:p>
          <a:p>
            <a:pPr marL="311150" indent="-171450">
              <a:buClr>
                <a:schemeClr val="accent5"/>
              </a:buClr>
              <a:buFont typeface="Arial" panose="020B0604020202020204" pitchFamily="34" charset="0"/>
              <a:buChar char="•"/>
            </a:pPr>
            <a:r>
              <a:rPr lang="en-US" sz="1200"/>
              <a:t>m for mass: relates to the amount of water.</a:t>
            </a:r>
          </a:p>
          <a:p>
            <a:pPr marL="311150" indent="-171450">
              <a:buClr>
                <a:schemeClr val="accent5"/>
              </a:buClr>
              <a:buFont typeface="Arial" panose="020B0604020202020204" pitchFamily="34" charset="0"/>
              <a:buChar char="•"/>
            </a:pPr>
            <a:r>
              <a:rPr lang="en-US" sz="1200"/>
              <a:t>h for height: the higher the water is, the more potential energy it contains.</a:t>
            </a:r>
          </a:p>
          <a:p>
            <a:pPr marL="311150" indent="-171450">
              <a:buClr>
                <a:schemeClr val="accent5"/>
              </a:buClr>
              <a:buFont typeface="Arial" panose="020B0604020202020204" pitchFamily="34" charset="0"/>
              <a:buChar char="•"/>
            </a:pPr>
            <a:r>
              <a:rPr lang="en-US" sz="1200"/>
              <a:t>g for gravity: which pulls the water down, converting potential energy into kinetic energy (approximately 9.8 m/s</a:t>
            </a:r>
            <a:r>
              <a:rPr lang="en-US" sz="1200" baseline="30000"/>
              <a:t>2 </a:t>
            </a:r>
            <a:r>
              <a:rPr lang="en-US" sz="1200"/>
              <a:t>on earth)</a:t>
            </a:r>
          </a:p>
          <a:p>
            <a:pPr marL="311150" indent="-171450">
              <a:buClr>
                <a:schemeClr val="accent5"/>
              </a:buClr>
              <a:buFont typeface="Arial" panose="020B0604020202020204" pitchFamily="34" charset="0"/>
              <a:buChar char="•"/>
            </a:pPr>
            <a:r>
              <a:rPr lang="en-US" sz="1200"/>
              <a:t>p for density of water</a:t>
            </a:r>
          </a:p>
          <a:p>
            <a:pPr marL="139700" indent="0"/>
            <a:endParaRPr lang="en-US" sz="1200"/>
          </a:p>
          <a:p>
            <a:pPr marL="311150" indent="-171450">
              <a:buClr>
                <a:schemeClr val="accent5"/>
              </a:buClr>
              <a:buFont typeface="Arial" panose="020B0604020202020204" pitchFamily="34" charset="0"/>
              <a:buChar char="•"/>
            </a:pPr>
            <a:r>
              <a:rPr lang="en-US" sz="1200"/>
              <a:t>Potential Energy = </a:t>
            </a:r>
            <a:r>
              <a:rPr lang="en-US" sz="1200">
                <a:solidFill>
                  <a:srgbClr val="FFC000"/>
                </a:solidFill>
              </a:rPr>
              <a:t>m</a:t>
            </a:r>
            <a:r>
              <a:rPr lang="en-US" sz="1200"/>
              <a:t> * </a:t>
            </a:r>
            <a:r>
              <a:rPr lang="en-US" sz="1200">
                <a:solidFill>
                  <a:schemeClr val="accent5"/>
                </a:solidFill>
              </a:rPr>
              <a:t>g * h</a:t>
            </a:r>
          </a:p>
          <a:p>
            <a:pPr marL="311150" indent="-171450">
              <a:buClr>
                <a:schemeClr val="accent5"/>
              </a:buClr>
              <a:buFont typeface="Arial" panose="020B0604020202020204" pitchFamily="34" charset="0"/>
              <a:buChar char="•"/>
            </a:pPr>
            <a:r>
              <a:rPr lang="en-US" sz="1200"/>
              <a:t>Mass can be written as Volume * Density of water: m = </a:t>
            </a:r>
            <a:r>
              <a:rPr lang="en-US" sz="1200">
                <a:solidFill>
                  <a:srgbClr val="00B050"/>
                </a:solidFill>
              </a:rPr>
              <a:t>p * V</a:t>
            </a:r>
          </a:p>
          <a:p>
            <a:pPr marL="311150" indent="-171450">
              <a:buClr>
                <a:schemeClr val="accent5"/>
              </a:buClr>
              <a:buFont typeface="Arial" panose="020B0604020202020204" pitchFamily="34" charset="0"/>
              <a:buChar char="•"/>
            </a:pPr>
            <a:r>
              <a:rPr lang="en-US" sz="1200"/>
              <a:t>Insert </a:t>
            </a:r>
            <a:r>
              <a:rPr lang="en-US" sz="1200">
                <a:solidFill>
                  <a:srgbClr val="FFC000"/>
                </a:solidFill>
              </a:rPr>
              <a:t>m</a:t>
            </a:r>
            <a:r>
              <a:rPr lang="en-US" sz="1200"/>
              <a:t> in the Potential Energy Equation = </a:t>
            </a:r>
            <a:r>
              <a:rPr lang="en-US" sz="1200">
                <a:solidFill>
                  <a:srgbClr val="00B050"/>
                </a:solidFill>
              </a:rPr>
              <a:t>p * V </a:t>
            </a:r>
            <a:r>
              <a:rPr lang="en-US" sz="1200"/>
              <a:t>* </a:t>
            </a:r>
            <a:r>
              <a:rPr lang="en-US" sz="1200">
                <a:solidFill>
                  <a:schemeClr val="accent5"/>
                </a:solidFill>
              </a:rPr>
              <a:t>g * h</a:t>
            </a:r>
          </a:p>
          <a:p>
            <a:pPr marL="0" indent="0" algn="ctr"/>
            <a:r>
              <a:rPr lang="en-US" sz="1200">
                <a:solidFill>
                  <a:srgbClr val="FF0000"/>
                </a:solidFill>
              </a:rPr>
              <a:t>Energy</a:t>
            </a:r>
            <a:r>
              <a:rPr lang="en-US" sz="1200">
                <a:solidFill>
                  <a:schemeClr val="accent5"/>
                </a:solidFill>
              </a:rPr>
              <a:t> </a:t>
            </a:r>
            <a:r>
              <a:rPr lang="en-US" sz="1200">
                <a:solidFill>
                  <a:schemeClr val="tx1"/>
                </a:solidFill>
              </a:rPr>
              <a:t>= p * V * g * h</a:t>
            </a:r>
          </a:p>
          <a:p>
            <a:pPr marL="0" indent="0"/>
            <a:endParaRPr lang="en-US" sz="1200"/>
          </a:p>
          <a:p>
            <a:pPr marL="285750" indent="-285750">
              <a:buClr>
                <a:schemeClr val="accent5"/>
              </a:buClr>
              <a:buFont typeface="Arial" panose="020B0604020202020204" pitchFamily="34" charset="0"/>
              <a:buChar char="•"/>
            </a:pPr>
            <a:r>
              <a:rPr lang="en-US" sz="1200" b="1"/>
              <a:t>In other words: </a:t>
            </a:r>
          </a:p>
          <a:p>
            <a:pPr marL="0" indent="0" algn="ctr"/>
            <a:r>
              <a:rPr lang="en-US" sz="1200"/>
              <a:t>Total energy = potential energy + kinetic energy </a:t>
            </a:r>
          </a:p>
          <a:p>
            <a:pPr marL="0" indent="0" algn="ctr"/>
            <a:r>
              <a:rPr lang="en-US" sz="1200"/>
              <a:t>= </a:t>
            </a:r>
            <a:r>
              <a:rPr lang="en-US" sz="1200" err="1"/>
              <a:t>Etotal</a:t>
            </a:r>
            <a:r>
              <a:rPr lang="en-US" sz="1200"/>
              <a:t> = </a:t>
            </a:r>
            <a:r>
              <a:rPr lang="en-US" sz="1200" err="1"/>
              <a:t>Epot</a:t>
            </a:r>
            <a:r>
              <a:rPr lang="en-US" sz="1200"/>
              <a:t> + </a:t>
            </a:r>
            <a:r>
              <a:rPr lang="en-US" sz="1200" err="1"/>
              <a:t>Ekin</a:t>
            </a:r>
            <a:endParaRPr lang="en-US" sz="1200"/>
          </a:p>
        </p:txBody>
      </p:sp>
    </p:spTree>
    <p:extLst>
      <p:ext uri="{BB962C8B-B14F-4D97-AF65-F5344CB8AC3E}">
        <p14:creationId xmlns:p14="http://schemas.microsoft.com/office/powerpoint/2010/main" val="7158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FE424-78DE-49C2-D3CE-893099BE7C6F}"/>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D3F2075-DD75-14E6-6379-CDD3434FB7B9}"/>
              </a:ext>
            </a:extLst>
          </p:cNvPr>
          <p:cNvSpPr>
            <a:spLocks noGrp="1"/>
          </p:cNvSpPr>
          <p:nvPr>
            <p:ph type="sldNum" sz="quarter" idx="16"/>
          </p:nvPr>
        </p:nvSpPr>
        <p:spPr/>
        <p:txBody>
          <a:bodyPr/>
          <a:lstStyle/>
          <a:p>
            <a:fld id="{DF7F771E-9578-4C04-B869-01AF4C35C90C}" type="slidenum">
              <a:rPr lang="de-DE" smtClean="0"/>
              <a:t>46</a:t>
            </a:fld>
            <a:endParaRPr lang="de-DE"/>
          </a:p>
        </p:txBody>
      </p:sp>
      <p:pic>
        <p:nvPicPr>
          <p:cNvPr id="6" name="Picture 5" descr="A close up of a metal object&#10;&#10;Description automatically generated">
            <a:extLst>
              <a:ext uri="{FF2B5EF4-FFF2-40B4-BE49-F238E27FC236}">
                <a16:creationId xmlns:a16="http://schemas.microsoft.com/office/drawing/2014/main" id="{AB781014-97B0-6D7F-98BB-7FA1C876D148}"/>
              </a:ext>
            </a:extLst>
          </p:cNvPr>
          <p:cNvPicPr>
            <a:picLocks noChangeAspect="1"/>
          </p:cNvPicPr>
          <p:nvPr/>
        </p:nvPicPr>
        <p:blipFill>
          <a:blip r:embed="rId2"/>
          <a:stretch>
            <a:fillRect/>
          </a:stretch>
        </p:blipFill>
        <p:spPr>
          <a:xfrm>
            <a:off x="5253253" y="5278147"/>
            <a:ext cx="911004" cy="1501469"/>
          </a:xfrm>
          <a:prstGeom prst="rect">
            <a:avLst/>
          </a:prstGeom>
        </p:spPr>
      </p:pic>
      <p:pic>
        <p:nvPicPr>
          <p:cNvPr id="20" name="Picture 19" descr="A large metal object with a circular base&#10;&#10;Description automatically generated with medium confidence">
            <a:extLst>
              <a:ext uri="{FF2B5EF4-FFF2-40B4-BE49-F238E27FC236}">
                <a16:creationId xmlns:a16="http://schemas.microsoft.com/office/drawing/2014/main" id="{0B56705F-26B0-D1B0-1496-DAC2EB29CA1D}"/>
              </a:ext>
            </a:extLst>
          </p:cNvPr>
          <p:cNvPicPr>
            <a:picLocks noChangeAspect="1"/>
          </p:cNvPicPr>
          <p:nvPr/>
        </p:nvPicPr>
        <p:blipFill>
          <a:blip r:embed="rId3"/>
          <a:stretch>
            <a:fillRect/>
          </a:stretch>
        </p:blipFill>
        <p:spPr>
          <a:xfrm>
            <a:off x="992684" y="5278147"/>
            <a:ext cx="2077065" cy="1466408"/>
          </a:xfrm>
          <a:prstGeom prst="rect">
            <a:avLst/>
          </a:prstGeom>
        </p:spPr>
      </p:pic>
      <p:pic>
        <p:nvPicPr>
          <p:cNvPr id="25" name="Picture 24" descr="A large blue propeller on a pedestal&#10;&#10;Description automatically generated">
            <a:extLst>
              <a:ext uri="{FF2B5EF4-FFF2-40B4-BE49-F238E27FC236}">
                <a16:creationId xmlns:a16="http://schemas.microsoft.com/office/drawing/2014/main" id="{357E173A-86EF-11DC-90D1-E95357C144C6}"/>
              </a:ext>
            </a:extLst>
          </p:cNvPr>
          <p:cNvPicPr>
            <a:picLocks noChangeAspect="1"/>
          </p:cNvPicPr>
          <p:nvPr/>
        </p:nvPicPr>
        <p:blipFill>
          <a:blip r:embed="rId4"/>
          <a:stretch>
            <a:fillRect/>
          </a:stretch>
        </p:blipFill>
        <p:spPr>
          <a:xfrm>
            <a:off x="3345557" y="5278147"/>
            <a:ext cx="1631887" cy="1476132"/>
          </a:xfrm>
          <a:prstGeom prst="rect">
            <a:avLst/>
          </a:prstGeom>
        </p:spPr>
      </p:pic>
      <p:sp>
        <p:nvSpPr>
          <p:cNvPr id="28" name="TextBox 27">
            <a:extLst>
              <a:ext uri="{FF2B5EF4-FFF2-40B4-BE49-F238E27FC236}">
                <a16:creationId xmlns:a16="http://schemas.microsoft.com/office/drawing/2014/main" id="{284E1705-A6EA-3FB7-95FE-5115D815BAC3}"/>
              </a:ext>
            </a:extLst>
          </p:cNvPr>
          <p:cNvSpPr txBox="1"/>
          <p:nvPr/>
        </p:nvSpPr>
        <p:spPr>
          <a:xfrm>
            <a:off x="1009383" y="6922324"/>
            <a:ext cx="1504674" cy="276999"/>
          </a:xfrm>
          <a:prstGeom prst="rect">
            <a:avLst/>
          </a:prstGeom>
          <a:noFill/>
          <a:ln w="9525">
            <a:solidFill>
              <a:schemeClr val="tx1"/>
            </a:solidFill>
          </a:ln>
        </p:spPr>
        <p:txBody>
          <a:bodyPr wrap="square" rtlCol="0">
            <a:spAutoFit/>
          </a:bodyPr>
          <a:lstStyle/>
          <a:p>
            <a:r>
              <a:rPr lang="en-US" sz="1200">
                <a:solidFill>
                  <a:srgbClr val="FF0000"/>
                </a:solidFill>
                <a:latin typeface="Sofia Sans" panose="020B0604020202020204" charset="0"/>
              </a:rPr>
              <a:t>Francis Turbine</a:t>
            </a:r>
          </a:p>
        </p:txBody>
      </p:sp>
      <p:sp>
        <p:nvSpPr>
          <p:cNvPr id="29" name="TextBox 28">
            <a:extLst>
              <a:ext uri="{FF2B5EF4-FFF2-40B4-BE49-F238E27FC236}">
                <a16:creationId xmlns:a16="http://schemas.microsoft.com/office/drawing/2014/main" id="{EB7E53D0-9533-896E-73AA-36A039C0F973}"/>
              </a:ext>
            </a:extLst>
          </p:cNvPr>
          <p:cNvSpPr txBox="1"/>
          <p:nvPr/>
        </p:nvSpPr>
        <p:spPr>
          <a:xfrm>
            <a:off x="5253253" y="6922324"/>
            <a:ext cx="1504674" cy="276999"/>
          </a:xfrm>
          <a:prstGeom prst="rect">
            <a:avLst/>
          </a:prstGeom>
          <a:noFill/>
          <a:ln w="9525">
            <a:solidFill>
              <a:schemeClr val="tx1"/>
            </a:solidFill>
          </a:ln>
        </p:spPr>
        <p:txBody>
          <a:bodyPr wrap="square" rtlCol="0">
            <a:spAutoFit/>
          </a:bodyPr>
          <a:lstStyle/>
          <a:p>
            <a:r>
              <a:rPr lang="en-US" sz="1200">
                <a:solidFill>
                  <a:srgbClr val="FF0000"/>
                </a:solidFill>
                <a:latin typeface="Sofia Sans" panose="020B0604020202020204" charset="0"/>
              </a:rPr>
              <a:t>Pelton Turbine</a:t>
            </a:r>
          </a:p>
        </p:txBody>
      </p:sp>
      <p:sp>
        <p:nvSpPr>
          <p:cNvPr id="30" name="TextBox 29">
            <a:extLst>
              <a:ext uri="{FF2B5EF4-FFF2-40B4-BE49-F238E27FC236}">
                <a16:creationId xmlns:a16="http://schemas.microsoft.com/office/drawing/2014/main" id="{521810C1-3561-67F4-97E3-C3FE739EB494}"/>
              </a:ext>
            </a:extLst>
          </p:cNvPr>
          <p:cNvSpPr txBox="1"/>
          <p:nvPr/>
        </p:nvSpPr>
        <p:spPr>
          <a:xfrm>
            <a:off x="3341739" y="6922324"/>
            <a:ext cx="1504674" cy="276999"/>
          </a:xfrm>
          <a:prstGeom prst="rect">
            <a:avLst/>
          </a:prstGeom>
          <a:noFill/>
          <a:ln w="9525">
            <a:solidFill>
              <a:schemeClr val="tx1"/>
            </a:solidFill>
          </a:ln>
        </p:spPr>
        <p:txBody>
          <a:bodyPr wrap="square" rtlCol="0">
            <a:spAutoFit/>
          </a:bodyPr>
          <a:lstStyle/>
          <a:p>
            <a:r>
              <a:rPr lang="en-US" sz="1200">
                <a:solidFill>
                  <a:srgbClr val="FF0000"/>
                </a:solidFill>
                <a:latin typeface="Sofia Sans" panose="020B0604020202020204" charset="0"/>
              </a:rPr>
              <a:t>Kaplan Turbine</a:t>
            </a:r>
          </a:p>
        </p:txBody>
      </p:sp>
      <p:grpSp>
        <p:nvGrpSpPr>
          <p:cNvPr id="2" name="Gruppieren 1">
            <a:extLst>
              <a:ext uri="{FF2B5EF4-FFF2-40B4-BE49-F238E27FC236}">
                <a16:creationId xmlns:a16="http://schemas.microsoft.com/office/drawing/2014/main" id="{E2F31190-2F8D-C112-B10B-55D4D223B7A1}"/>
              </a:ext>
            </a:extLst>
          </p:cNvPr>
          <p:cNvGrpSpPr/>
          <p:nvPr/>
        </p:nvGrpSpPr>
        <p:grpSpPr>
          <a:xfrm>
            <a:off x="775384" y="4168884"/>
            <a:ext cx="1710752" cy="480127"/>
            <a:chOff x="1101722" y="2712687"/>
            <a:chExt cx="1710752" cy="480127"/>
          </a:xfrm>
        </p:grpSpPr>
        <p:sp>
          <p:nvSpPr>
            <p:cNvPr id="5" name="Untertitel 5">
              <a:extLst>
                <a:ext uri="{FF2B5EF4-FFF2-40B4-BE49-F238E27FC236}">
                  <a16:creationId xmlns:a16="http://schemas.microsoft.com/office/drawing/2014/main" id="{FC1AB56C-F92F-CB1E-0D9C-6525560BF080}"/>
                </a:ext>
              </a:extLst>
            </p:cNvPr>
            <p:cNvSpPr txBox="1">
              <a:spLocks/>
            </p:cNvSpPr>
            <p:nvPr/>
          </p:nvSpPr>
          <p:spPr>
            <a:xfrm>
              <a:off x="1525244" y="2742049"/>
              <a:ext cx="128723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grpSp>
          <p:nvGrpSpPr>
            <p:cNvPr id="8" name="Group 7">
              <a:extLst>
                <a:ext uri="{FF2B5EF4-FFF2-40B4-BE49-F238E27FC236}">
                  <a16:creationId xmlns:a16="http://schemas.microsoft.com/office/drawing/2014/main" id="{B1872AB1-E36D-7877-8054-B2D2EB4DF5D3}"/>
                </a:ext>
              </a:extLst>
            </p:cNvPr>
            <p:cNvGrpSpPr/>
            <p:nvPr/>
          </p:nvGrpSpPr>
          <p:grpSpPr>
            <a:xfrm>
              <a:off x="1101722" y="2712687"/>
              <a:ext cx="480127" cy="480127"/>
              <a:chOff x="717779" y="2278642"/>
              <a:chExt cx="480127" cy="480127"/>
            </a:xfrm>
          </p:grpSpPr>
          <p:sp>
            <p:nvSpPr>
              <p:cNvPr id="18" name="Ellipse 21">
                <a:extLst>
                  <a:ext uri="{FF2B5EF4-FFF2-40B4-BE49-F238E27FC236}">
                    <a16:creationId xmlns:a16="http://schemas.microsoft.com/office/drawing/2014/main" id="{923CAE12-1A2F-0335-1655-DD21A5B200B1}"/>
                  </a:ext>
                </a:extLst>
              </p:cNvPr>
              <p:cNvSpPr>
                <a:spLocks noChangeAspect="1"/>
              </p:cNvSpPr>
              <p:nvPr/>
            </p:nvSpPr>
            <p:spPr>
              <a:xfrm>
                <a:off x="717779" y="2278642"/>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2" descr="Skizze mit einfarbiger Füllung">
                <a:extLst>
                  <a:ext uri="{FF2B5EF4-FFF2-40B4-BE49-F238E27FC236}">
                    <a16:creationId xmlns:a16="http://schemas.microsoft.com/office/drawing/2014/main" id="{3A8B11B1-3530-223B-F270-116C6D7D52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2256" y="2342374"/>
                <a:ext cx="379044" cy="379044"/>
              </a:xfrm>
              <a:prstGeom prst="rect">
                <a:avLst/>
              </a:prstGeom>
            </p:spPr>
          </p:pic>
        </p:grpSp>
      </p:grpSp>
      <p:sp>
        <p:nvSpPr>
          <p:cNvPr id="7" name="Untertitel 5">
            <a:extLst>
              <a:ext uri="{FF2B5EF4-FFF2-40B4-BE49-F238E27FC236}">
                <a16:creationId xmlns:a16="http://schemas.microsoft.com/office/drawing/2014/main" id="{F61F2510-BCBD-AD07-DDFD-E0EF84F4502A}"/>
              </a:ext>
            </a:extLst>
          </p:cNvPr>
          <p:cNvSpPr txBox="1">
            <a:spLocks/>
          </p:cNvSpPr>
          <p:nvPr/>
        </p:nvSpPr>
        <p:spPr>
          <a:xfrm>
            <a:off x="748322" y="478711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pic>
        <p:nvPicPr>
          <p:cNvPr id="10" name="Grafik 9" descr="Ein Bild, das Muster, Quadrat, Pixel, nähen enthält.&#10;&#10;KI-generierte Inhalte können fehlerhaft sein.">
            <a:extLst>
              <a:ext uri="{FF2B5EF4-FFF2-40B4-BE49-F238E27FC236}">
                <a16:creationId xmlns:a16="http://schemas.microsoft.com/office/drawing/2014/main" id="{058B9175-1932-8CD2-9E43-783CF588514B}"/>
              </a:ext>
            </a:extLst>
          </p:cNvPr>
          <p:cNvPicPr>
            <a:picLocks noChangeAspect="1"/>
          </p:cNvPicPr>
          <p:nvPr/>
        </p:nvPicPr>
        <p:blipFill>
          <a:blip r:embed="rId7"/>
          <a:stretch>
            <a:fillRect/>
          </a:stretch>
        </p:blipFill>
        <p:spPr>
          <a:xfrm>
            <a:off x="4783646" y="7568433"/>
            <a:ext cx="911004" cy="905610"/>
          </a:xfrm>
          <a:prstGeom prst="rect">
            <a:avLst/>
          </a:prstGeom>
        </p:spPr>
      </p:pic>
      <p:pic>
        <p:nvPicPr>
          <p:cNvPr id="11" name="Grafik 10" descr="Ein Bild, das Muster, Quadrat, Pixel, Design enthält.&#10;&#10;KI-generierte Inhalte können fehlerhaft sein.">
            <a:extLst>
              <a:ext uri="{FF2B5EF4-FFF2-40B4-BE49-F238E27FC236}">
                <a16:creationId xmlns:a16="http://schemas.microsoft.com/office/drawing/2014/main" id="{134C04FA-A39D-6DEC-69B7-86DE08C87485}"/>
              </a:ext>
            </a:extLst>
          </p:cNvPr>
          <p:cNvPicPr>
            <a:picLocks noChangeAspect="1"/>
          </p:cNvPicPr>
          <p:nvPr/>
        </p:nvPicPr>
        <p:blipFill>
          <a:blip r:embed="rId8"/>
          <a:stretch>
            <a:fillRect/>
          </a:stretch>
        </p:blipFill>
        <p:spPr>
          <a:xfrm>
            <a:off x="1875664" y="7567654"/>
            <a:ext cx="905522" cy="905610"/>
          </a:xfrm>
          <a:prstGeom prst="rect">
            <a:avLst/>
          </a:prstGeom>
        </p:spPr>
      </p:pic>
      <p:pic>
        <p:nvPicPr>
          <p:cNvPr id="12" name="Grafik 11" descr="Ein Bild, das Muster, Quadrat, Pixel enthält.&#10;&#10;KI-generierte Inhalte können fehlerhaft sein.">
            <a:extLst>
              <a:ext uri="{FF2B5EF4-FFF2-40B4-BE49-F238E27FC236}">
                <a16:creationId xmlns:a16="http://schemas.microsoft.com/office/drawing/2014/main" id="{24BA7957-0104-2E7C-BA3C-105DBE6B841E}"/>
              </a:ext>
            </a:extLst>
          </p:cNvPr>
          <p:cNvPicPr>
            <a:picLocks noChangeAspect="1"/>
          </p:cNvPicPr>
          <p:nvPr/>
        </p:nvPicPr>
        <p:blipFill>
          <a:blip r:embed="rId9"/>
          <a:stretch>
            <a:fillRect/>
          </a:stretch>
        </p:blipFill>
        <p:spPr>
          <a:xfrm>
            <a:off x="3314677" y="7572149"/>
            <a:ext cx="911004" cy="911092"/>
          </a:xfrm>
          <a:prstGeom prst="rect">
            <a:avLst/>
          </a:prstGeom>
        </p:spPr>
      </p:pic>
      <p:pic>
        <p:nvPicPr>
          <p:cNvPr id="14" name="Grafik 13" descr="Ein Bild, das Muster, Quadrat enthält.&#10;&#10;Automatisch generierte Beschreibung">
            <a:extLst>
              <a:ext uri="{FF2B5EF4-FFF2-40B4-BE49-F238E27FC236}">
                <a16:creationId xmlns:a16="http://schemas.microsoft.com/office/drawing/2014/main" id="{DA6E85BA-BDB7-4117-4715-3280D95A42C1}"/>
              </a:ext>
            </a:extLst>
          </p:cNvPr>
          <p:cNvPicPr>
            <a:picLocks noChangeAspect="1"/>
          </p:cNvPicPr>
          <p:nvPr/>
        </p:nvPicPr>
        <p:blipFill>
          <a:blip r:embed="rId10"/>
          <a:stretch>
            <a:fillRect/>
          </a:stretch>
        </p:blipFill>
        <p:spPr>
          <a:xfrm>
            <a:off x="4783646" y="8737992"/>
            <a:ext cx="910392" cy="910392"/>
          </a:xfrm>
          <a:prstGeom prst="rect">
            <a:avLst/>
          </a:prstGeom>
        </p:spPr>
      </p:pic>
      <p:sp>
        <p:nvSpPr>
          <p:cNvPr id="16" name="Untertitel 2">
            <a:extLst>
              <a:ext uri="{FF2B5EF4-FFF2-40B4-BE49-F238E27FC236}">
                <a16:creationId xmlns:a16="http://schemas.microsoft.com/office/drawing/2014/main" id="{F9481D49-6C8A-AD32-1195-C634B874176F}"/>
              </a:ext>
            </a:extLst>
          </p:cNvPr>
          <p:cNvSpPr txBox="1">
            <a:spLocks/>
          </p:cNvSpPr>
          <p:nvPr/>
        </p:nvSpPr>
        <p:spPr>
          <a:xfrm>
            <a:off x="2239416" y="8702068"/>
            <a:ext cx="2150521" cy="9463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US" sz="1150"/>
              <a:t>Videos and animations about the principles of operating different types of hydro turbines:</a:t>
            </a:r>
            <a:endParaRPr lang="de-DE" sz="1150"/>
          </a:p>
        </p:txBody>
      </p:sp>
      <p:sp>
        <p:nvSpPr>
          <p:cNvPr id="19" name="TextBox 18">
            <a:extLst>
              <a:ext uri="{FF2B5EF4-FFF2-40B4-BE49-F238E27FC236}">
                <a16:creationId xmlns:a16="http://schemas.microsoft.com/office/drawing/2014/main" id="{1DCA768B-ACF3-F9A8-2BFD-496561FF6641}"/>
              </a:ext>
            </a:extLst>
          </p:cNvPr>
          <p:cNvSpPr txBox="1"/>
          <p:nvPr/>
        </p:nvSpPr>
        <p:spPr>
          <a:xfrm>
            <a:off x="738594" y="1286045"/>
            <a:ext cx="6436138" cy="954107"/>
          </a:xfrm>
          <a:prstGeom prst="rect">
            <a:avLst/>
          </a:prstGeom>
          <a:noFill/>
        </p:spPr>
        <p:txBody>
          <a:bodyPr wrap="square" lIns="91440" tIns="45720" rIns="91440" bIns="45720" anchor="t">
            <a:spAutoFit/>
          </a:bodyPr>
          <a:lstStyle/>
          <a:p>
            <a:r>
              <a:rPr lang="en-US" sz="2800" b="1">
                <a:latin typeface="+mj-lt"/>
              </a:rPr>
              <a:t>2. Different Turbine Types in Hydro Energy</a:t>
            </a:r>
          </a:p>
        </p:txBody>
      </p:sp>
      <p:sp>
        <p:nvSpPr>
          <p:cNvPr id="17" name="Untertitel 3">
            <a:extLst>
              <a:ext uri="{FF2B5EF4-FFF2-40B4-BE49-F238E27FC236}">
                <a16:creationId xmlns:a16="http://schemas.microsoft.com/office/drawing/2014/main" id="{181DEDA1-279E-786E-680A-593BD8AEA2E3}"/>
              </a:ext>
            </a:extLst>
          </p:cNvPr>
          <p:cNvSpPr txBox="1">
            <a:spLocks/>
          </p:cNvSpPr>
          <p:nvPr/>
        </p:nvSpPr>
        <p:spPr>
          <a:xfrm>
            <a:off x="738594" y="2359096"/>
            <a:ext cx="6436138" cy="170547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u="sng">
                <a:solidFill>
                  <a:schemeClr val="accent5"/>
                </a:solidFill>
              </a:rPr>
              <a:t>Learning Objective</a:t>
            </a:r>
            <a:endParaRPr lang="de-DE" sz="1200"/>
          </a:p>
          <a:p>
            <a:r>
              <a:rPr lang="en-US" sz="1200"/>
              <a:t>In this chapter, you will embark on an exciting experiment involving a 3D-printed </a:t>
            </a:r>
            <a:endParaRPr lang="de-DE" sz="1200"/>
          </a:p>
          <a:p>
            <a:pPr>
              <a:lnSpc>
                <a:spcPct val="114999"/>
              </a:lnSpc>
            </a:pPr>
            <a:r>
              <a:rPr lang="en-US" sz="1200"/>
              <a:t>hydropower plant equipped with Francis, Pelton, and Kaplan turbines. The goal of this </a:t>
            </a:r>
            <a:endParaRPr lang="de-DE" sz="1200"/>
          </a:p>
          <a:p>
            <a:pPr>
              <a:lnSpc>
                <a:spcPct val="114999"/>
              </a:lnSpc>
            </a:pPr>
            <a:r>
              <a:rPr lang="en-US" sz="1200"/>
              <a:t>experiment is to help you understand the three major types of water turbines, their </a:t>
            </a:r>
            <a:endParaRPr lang="de-DE" sz="1200"/>
          </a:p>
          <a:p>
            <a:pPr>
              <a:lnSpc>
                <a:spcPct val="114999"/>
              </a:lnSpc>
            </a:pPr>
            <a:r>
              <a:rPr lang="en-US" sz="1200"/>
              <a:t>unique designs, and the specific conditions in which they operate most efficiently. You </a:t>
            </a:r>
            <a:endParaRPr lang="de-DE" sz="1200"/>
          </a:p>
          <a:p>
            <a:pPr>
              <a:lnSpc>
                <a:spcPct val="114999"/>
              </a:lnSpc>
            </a:pPr>
            <a:r>
              <a:rPr lang="en-US" sz="1200"/>
              <a:t>will gain insight into why different turbine types are necessary to harness the energy of </a:t>
            </a:r>
            <a:endParaRPr lang="de-DE" sz="1200"/>
          </a:p>
          <a:p>
            <a:pPr>
              <a:lnSpc>
                <a:spcPct val="114999"/>
              </a:lnSpc>
            </a:pPr>
            <a:r>
              <a:rPr lang="en-US" sz="1200"/>
              <a:t>water effectively in various environmental and flow conditions.</a:t>
            </a:r>
            <a:endParaRPr lang="de-DE" sz="1200"/>
          </a:p>
        </p:txBody>
      </p:sp>
    </p:spTree>
    <p:extLst>
      <p:ext uri="{BB962C8B-B14F-4D97-AF65-F5344CB8AC3E}">
        <p14:creationId xmlns:p14="http://schemas.microsoft.com/office/powerpoint/2010/main" val="40043139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BEF43-CCF6-1CD1-D447-3E41D866E7BC}"/>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AF43FF3F-9E26-7C3E-5AB2-F7D44ED83264}"/>
              </a:ext>
            </a:extLst>
          </p:cNvPr>
          <p:cNvSpPr>
            <a:spLocks noGrp="1"/>
          </p:cNvSpPr>
          <p:nvPr>
            <p:ph type="sldNum" sz="quarter" idx="4"/>
          </p:nvPr>
        </p:nvSpPr>
        <p:spPr/>
        <p:txBody>
          <a:bodyPr/>
          <a:lstStyle/>
          <a:p>
            <a:fld id="{DF7F771E-9578-4C04-B869-01AF4C35C90C}" type="slidenum">
              <a:rPr lang="de-DE" smtClean="0"/>
              <a:t>47</a:t>
            </a:fld>
            <a:endParaRPr lang="de-DE"/>
          </a:p>
        </p:txBody>
      </p:sp>
      <p:sp>
        <p:nvSpPr>
          <p:cNvPr id="9" name="Untertitel 5">
            <a:extLst>
              <a:ext uri="{FF2B5EF4-FFF2-40B4-BE49-F238E27FC236}">
                <a16:creationId xmlns:a16="http://schemas.microsoft.com/office/drawing/2014/main" id="{0564C0B3-E5A9-D742-2FDB-4DFD75611B5A}"/>
              </a:ext>
            </a:extLst>
          </p:cNvPr>
          <p:cNvSpPr txBox="1">
            <a:spLocks/>
          </p:cNvSpPr>
          <p:nvPr/>
        </p:nvSpPr>
        <p:spPr>
          <a:xfrm>
            <a:off x="742024" y="127993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a:t>
            </a:r>
          </a:p>
        </p:txBody>
      </p:sp>
      <p:sp>
        <p:nvSpPr>
          <p:cNvPr id="20" name="Textfeld 11">
            <a:extLst>
              <a:ext uri="{FF2B5EF4-FFF2-40B4-BE49-F238E27FC236}">
                <a16:creationId xmlns:a16="http://schemas.microsoft.com/office/drawing/2014/main" id="{CE99EE3C-EB99-438E-077A-6244B81B3907}"/>
              </a:ext>
            </a:extLst>
          </p:cNvPr>
          <p:cNvSpPr txBox="1"/>
          <p:nvPr/>
        </p:nvSpPr>
        <p:spPr>
          <a:xfrm>
            <a:off x="914035" y="2026422"/>
            <a:ext cx="5898317" cy="246805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dirty="0">
                <a:solidFill>
                  <a:srgbClr val="FF0000"/>
                </a:solidFill>
                <a:latin typeface="Sofia Sans" panose="020B0604020202020204" charset="0"/>
              </a:rPr>
              <a:t>Because of different environmental circumstances water is moving in a different way. </a:t>
            </a:r>
          </a:p>
          <a:p>
            <a:r>
              <a:rPr lang="en-US" sz="1200" dirty="0">
                <a:solidFill>
                  <a:srgbClr val="FF0000"/>
                </a:solidFill>
                <a:effectLst/>
                <a:latin typeface="Sofia Sans" panose="020B0604020202020204" charset="0"/>
                <a:ea typeface="Times New Roman" panose="02020603050405020304" pitchFamily="18" charset="0"/>
              </a:rPr>
              <a:t>Sometimes its slower</a:t>
            </a:r>
            <a:r>
              <a:rPr lang="en-US" sz="1200" dirty="0">
                <a:solidFill>
                  <a:srgbClr val="FF0000"/>
                </a:solidFill>
                <a:latin typeface="Sofia Sans" panose="020B0604020202020204" charset="0"/>
                <a:ea typeface="Times New Roman" panose="02020603050405020304" pitchFamily="18" charset="0"/>
              </a:rPr>
              <a:t>, sometimes faster and also the volume is varying. </a:t>
            </a:r>
          </a:p>
          <a:p>
            <a:r>
              <a:rPr lang="en-US" sz="1200" dirty="0">
                <a:solidFill>
                  <a:srgbClr val="FF0000"/>
                </a:solidFill>
                <a:effectLst/>
                <a:latin typeface="Sofia Sans" panose="020B0604020202020204" charset="0"/>
                <a:ea typeface="Times New Roman" panose="02020603050405020304" pitchFamily="18" charset="0"/>
              </a:rPr>
              <a:t>Therefore, to </a:t>
            </a:r>
            <a:r>
              <a:rPr lang="en-US" sz="1200" dirty="0">
                <a:solidFill>
                  <a:srgbClr val="FF0000"/>
                </a:solidFill>
                <a:latin typeface="Sofia Sans" panose="020B0604020202020204" charset="0"/>
                <a:ea typeface="Times New Roman" panose="02020603050405020304" pitchFamily="18" charset="0"/>
              </a:rPr>
              <a:t>fully utilize water energy we need different turbine types.</a:t>
            </a:r>
          </a:p>
          <a:p>
            <a:endParaRPr lang="en-US" sz="1200" dirty="0">
              <a:solidFill>
                <a:srgbClr val="FF0000"/>
              </a:solidFill>
              <a:effectLst/>
              <a:latin typeface="Sofia Sans" panose="020B0604020202020204" charset="0"/>
              <a:ea typeface="Times New Roman" panose="02020603050405020304" pitchFamily="18" charset="0"/>
            </a:endParaRPr>
          </a:p>
          <a:p>
            <a:r>
              <a:rPr lang="en-US" sz="1200" dirty="0">
                <a:solidFill>
                  <a:srgbClr val="FF0000"/>
                </a:solidFill>
                <a:latin typeface="Sofia Sans" panose="020B0604020202020204" charset="0"/>
              </a:rPr>
              <a:t>In Chapter 1, you were introduced to a wide range of environmental conditions and water motion, which can vary in energy levels. To efficiently harness the motion of water, specific types of turbines are required.</a:t>
            </a:r>
            <a:endParaRPr lang="de-DE" sz="1200" dirty="0">
              <a:solidFill>
                <a:srgbClr val="FF0000"/>
              </a:solidFill>
              <a:latin typeface="Sofia Sans" panose="020B0604020202020204" charset="0"/>
            </a:endParaRPr>
          </a:p>
        </p:txBody>
      </p:sp>
      <p:sp>
        <p:nvSpPr>
          <p:cNvPr id="2" name="Untertitel 2">
            <a:extLst>
              <a:ext uri="{FF2B5EF4-FFF2-40B4-BE49-F238E27FC236}">
                <a16:creationId xmlns:a16="http://schemas.microsoft.com/office/drawing/2014/main" id="{D54A004D-963E-A0CA-1D24-3D07B9FF0DD2}"/>
              </a:ext>
            </a:extLst>
          </p:cNvPr>
          <p:cNvSpPr txBox="1">
            <a:spLocks/>
          </p:cNvSpPr>
          <p:nvPr/>
        </p:nvSpPr>
        <p:spPr>
          <a:xfrm>
            <a:off x="747323" y="1591655"/>
            <a:ext cx="5908414" cy="5350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latin typeface="Sofia Sans" panose="020B0604020202020204" charset="0"/>
              </a:rPr>
              <a:t>Guess: Why do you think the types of turbines shown exist?</a:t>
            </a:r>
          </a:p>
        </p:txBody>
      </p:sp>
      <p:sp>
        <p:nvSpPr>
          <p:cNvPr id="6" name="Untertitel 2">
            <a:extLst>
              <a:ext uri="{FF2B5EF4-FFF2-40B4-BE49-F238E27FC236}">
                <a16:creationId xmlns:a16="http://schemas.microsoft.com/office/drawing/2014/main" id="{C1BEEB85-8A7F-5CA3-CE83-15042C355992}"/>
              </a:ext>
            </a:extLst>
          </p:cNvPr>
          <p:cNvSpPr>
            <a:spLocks noGrp="1"/>
          </p:cNvSpPr>
          <p:nvPr/>
        </p:nvSpPr>
        <p:spPr>
          <a:xfrm>
            <a:off x="742024" y="5069317"/>
            <a:ext cx="5919009" cy="22606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t>Which Turbine Type would you recommend for following operation range scenarios:</a:t>
            </a:r>
          </a:p>
          <a:p>
            <a:endParaRPr lang="en-US" sz="1200"/>
          </a:p>
          <a:p>
            <a:pPr>
              <a:buClr>
                <a:schemeClr val="accent5"/>
              </a:buClr>
              <a:buSzPct val="121000"/>
              <a:buFont typeface="+mj-lt"/>
              <a:buAutoNum type="arabicPeriod"/>
            </a:pPr>
            <a:r>
              <a:rPr lang="en-US" sz="1200"/>
              <a:t>Very high head height and low flow rate of the water</a:t>
            </a:r>
          </a:p>
          <a:p>
            <a:pPr>
              <a:buClr>
                <a:schemeClr val="accent5"/>
              </a:buClr>
              <a:buSzPct val="121000"/>
              <a:buFont typeface="+mj-lt"/>
              <a:buAutoNum type="arabicPeriod"/>
            </a:pPr>
            <a:r>
              <a:rPr lang="en-US" sz="1200"/>
              <a:t>Low head height and high flow rate</a:t>
            </a:r>
          </a:p>
          <a:p>
            <a:pPr>
              <a:buClr>
                <a:schemeClr val="accent5"/>
              </a:buClr>
              <a:buSzPct val="121000"/>
              <a:buFont typeface="+mj-lt"/>
              <a:buAutoNum type="arabicPeriod"/>
            </a:pPr>
            <a:r>
              <a:rPr lang="en-US" sz="1200"/>
              <a:t>Medium head height and very high flow rate</a:t>
            </a:r>
          </a:p>
          <a:p>
            <a:pPr>
              <a:buFont typeface="+mj-lt"/>
              <a:buAutoNum type="arabicPeriod"/>
            </a:pPr>
            <a:endParaRPr lang="en-US" sz="1200"/>
          </a:p>
          <a:p>
            <a:pPr marL="139700" indent="0"/>
            <a:r>
              <a:rPr lang="en-US" sz="1200"/>
              <a:t>For every scenario add a location where those conditions could be found in real world (for example: River, Dam, …)</a:t>
            </a:r>
          </a:p>
        </p:txBody>
      </p:sp>
      <p:sp>
        <p:nvSpPr>
          <p:cNvPr id="7" name="TextBox 3">
            <a:extLst>
              <a:ext uri="{FF2B5EF4-FFF2-40B4-BE49-F238E27FC236}">
                <a16:creationId xmlns:a16="http://schemas.microsoft.com/office/drawing/2014/main" id="{C4DB973C-C2B5-8E6B-AE78-A4DAC137D2C3}"/>
              </a:ext>
            </a:extLst>
          </p:cNvPr>
          <p:cNvSpPr txBox="1"/>
          <p:nvPr/>
        </p:nvSpPr>
        <p:spPr>
          <a:xfrm>
            <a:off x="1881924" y="6982630"/>
            <a:ext cx="3789218" cy="307777"/>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0" i="0">
                <a:solidFill>
                  <a:srgbClr val="000000"/>
                </a:solidFill>
                <a:effectLst/>
                <a:latin typeface="Times"/>
              </a:rPr>
              <a:t> </a:t>
            </a:r>
            <a:endParaRPr lang="en-US"/>
          </a:p>
        </p:txBody>
      </p:sp>
      <p:sp>
        <p:nvSpPr>
          <p:cNvPr id="8" name="Textfeld 11">
            <a:extLst>
              <a:ext uri="{FF2B5EF4-FFF2-40B4-BE49-F238E27FC236}">
                <a16:creationId xmlns:a16="http://schemas.microsoft.com/office/drawing/2014/main" id="{B4543DA9-E290-3B01-2FD0-FD10E69A72A9}"/>
              </a:ext>
            </a:extLst>
          </p:cNvPr>
          <p:cNvSpPr txBox="1"/>
          <p:nvPr/>
        </p:nvSpPr>
        <p:spPr>
          <a:xfrm>
            <a:off x="914035" y="7113270"/>
            <a:ext cx="5898317" cy="246805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FF0000"/>
                </a:solidFill>
                <a:latin typeface="Sofia Sans" panose="020B0604020202020204" charset="0"/>
                <a:ea typeface="Times New Roman" panose="02020603050405020304" pitchFamily="18" charset="0"/>
              </a:rPr>
              <a:t>1. Pelton Turbine: </a:t>
            </a:r>
          </a:p>
          <a:p>
            <a:r>
              <a:rPr lang="en-US" sz="1200" dirty="0">
                <a:solidFill>
                  <a:srgbClr val="FF0000"/>
                </a:solidFill>
                <a:latin typeface="Sofia Sans" panose="020B0604020202020204" charset="0"/>
                <a:ea typeface="Times New Roman" panose="02020603050405020304" pitchFamily="18" charset="0"/>
              </a:rPr>
              <a:t>Example: a tall mountain dam, like the Hoover Dam in the USA. Water falls from a great height, spinning the Pelton wheel to create energy.</a:t>
            </a: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a:p>
            <a:r>
              <a:rPr lang="en-US" sz="1200" dirty="0">
                <a:solidFill>
                  <a:srgbClr val="FF0000"/>
                </a:solidFill>
                <a:latin typeface="Sofia Sans" panose="020B0604020202020204" charset="0"/>
                <a:ea typeface="Times New Roman" panose="02020603050405020304" pitchFamily="18" charset="0"/>
              </a:rPr>
              <a:t>2. Kaplan Turbine: </a:t>
            </a:r>
          </a:p>
          <a:p>
            <a:r>
              <a:rPr lang="en-US" sz="1200" dirty="0">
                <a:solidFill>
                  <a:srgbClr val="FF0000"/>
                </a:solidFill>
                <a:latin typeface="Sofia Sans" panose="020B0604020202020204" charset="0"/>
                <a:ea typeface="Times New Roman" panose="02020603050405020304" pitchFamily="18" charset="0"/>
              </a:rPr>
              <a:t>Example: A huge River. Kaplan turbines are used where there is a. lot of water moving gently but powerfully.</a:t>
            </a:r>
          </a:p>
          <a:p>
            <a:endParaRPr lang="en-US" sz="1200" dirty="0">
              <a:solidFill>
                <a:srgbClr val="FF0000"/>
              </a:solidFill>
              <a:latin typeface="Sofia Sans" panose="020B0604020202020204" charset="0"/>
              <a:ea typeface="Times New Roman" panose="02020603050405020304" pitchFamily="18" charset="0"/>
            </a:endParaRPr>
          </a:p>
          <a:p>
            <a:r>
              <a:rPr lang="en-US" sz="1200" dirty="0">
                <a:solidFill>
                  <a:srgbClr val="FF0000"/>
                </a:solidFill>
                <a:latin typeface="Sofia Sans" panose="020B0604020202020204" charset="0"/>
                <a:ea typeface="Times New Roman" panose="02020603050405020304" pitchFamily="18" charset="0"/>
              </a:rPr>
              <a:t>3. Francis Turbine:</a:t>
            </a:r>
          </a:p>
          <a:p>
            <a:r>
              <a:rPr lang="en-US" sz="1200" dirty="0">
                <a:solidFill>
                  <a:srgbClr val="FF0000"/>
                </a:solidFill>
                <a:latin typeface="Sofia Sans" panose="020B0604020202020204" charset="0"/>
                <a:ea typeface="Times New Roman" panose="02020603050405020304" pitchFamily="18" charset="0"/>
              </a:rPr>
              <a:t>Example: Itaipu Dam between Brazil and Paraguay, where there is a good mix of height and flow.</a:t>
            </a:r>
          </a:p>
          <a:p>
            <a:endParaRPr lang="en-US" sz="1200" dirty="0">
              <a:solidFill>
                <a:srgbClr val="FF0000"/>
              </a:solidFill>
              <a:latin typeface="Sofia Sans" panose="020B0604020202020204" charset="0"/>
              <a:ea typeface="Times New Roman" panose="02020603050405020304" pitchFamily="18" charset="0"/>
            </a:endParaRPr>
          </a:p>
          <a:p>
            <a:endParaRPr lang="en-US" sz="1200" dirty="0">
              <a:solidFill>
                <a:srgbClr val="FF0000"/>
              </a:solidFill>
              <a:latin typeface="Sofia Sans" panose="020B0604020202020204" charset="0"/>
              <a:ea typeface="Times New Roman" panose="02020603050405020304" pitchFamily="18" charset="0"/>
            </a:endParaRPr>
          </a:p>
        </p:txBody>
      </p:sp>
      <p:sp>
        <p:nvSpPr>
          <p:cNvPr id="10" name="Untertitel 5">
            <a:extLst>
              <a:ext uri="{FF2B5EF4-FFF2-40B4-BE49-F238E27FC236}">
                <a16:creationId xmlns:a16="http://schemas.microsoft.com/office/drawing/2014/main" id="{FB070A6A-EF41-67D3-6B51-2C6825DF7896}"/>
              </a:ext>
            </a:extLst>
          </p:cNvPr>
          <p:cNvSpPr txBox="1">
            <a:spLocks/>
          </p:cNvSpPr>
          <p:nvPr/>
        </p:nvSpPr>
        <p:spPr>
          <a:xfrm>
            <a:off x="742024" y="464991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RPr/>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3</a:t>
            </a:r>
          </a:p>
        </p:txBody>
      </p:sp>
    </p:spTree>
    <p:extLst>
      <p:ext uri="{BB962C8B-B14F-4D97-AF65-F5344CB8AC3E}">
        <p14:creationId xmlns:p14="http://schemas.microsoft.com/office/powerpoint/2010/main" val="41593759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FD4C0-BF08-FD68-39EA-4333683D1A50}"/>
            </a:ext>
          </a:extLst>
        </p:cNvPr>
        <p:cNvGrpSpPr/>
        <p:nvPr/>
      </p:nvGrpSpPr>
      <p:grpSpPr>
        <a:xfrm>
          <a:off x="0" y="0"/>
          <a:ext cx="0" cy="0"/>
          <a:chOff x="0" y="0"/>
          <a:chExt cx="0" cy="0"/>
        </a:xfrm>
      </p:grpSpPr>
      <p:sp>
        <p:nvSpPr>
          <p:cNvPr id="17" name="Textfeld 11">
            <a:extLst>
              <a:ext uri="{FF2B5EF4-FFF2-40B4-BE49-F238E27FC236}">
                <a16:creationId xmlns:a16="http://schemas.microsoft.com/office/drawing/2014/main" id="{1F2311CF-05CB-2C10-6B83-1AFC7057A033}"/>
              </a:ext>
            </a:extLst>
          </p:cNvPr>
          <p:cNvSpPr txBox="1"/>
          <p:nvPr/>
        </p:nvSpPr>
        <p:spPr>
          <a:xfrm>
            <a:off x="1019098" y="4068735"/>
            <a:ext cx="5919009" cy="394456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1200">
              <a:solidFill>
                <a:srgbClr val="FF0000"/>
              </a:solidFill>
              <a:latin typeface="Times New Roman" panose="02020603050405020304" pitchFamily="18" charset="0"/>
              <a:ea typeface="Times New Roman" panose="02020603050405020304" pitchFamily="18" charset="0"/>
            </a:endParaRPr>
          </a:p>
        </p:txBody>
      </p:sp>
      <p:sp>
        <p:nvSpPr>
          <p:cNvPr id="15" name="Foliennummernplatzhalter 14">
            <a:extLst>
              <a:ext uri="{FF2B5EF4-FFF2-40B4-BE49-F238E27FC236}">
                <a16:creationId xmlns:a16="http://schemas.microsoft.com/office/drawing/2014/main" id="{5FDCEF26-1072-D190-3166-2E2354A6D5B9}"/>
              </a:ext>
            </a:extLst>
          </p:cNvPr>
          <p:cNvSpPr>
            <a:spLocks noGrp="1"/>
          </p:cNvSpPr>
          <p:nvPr>
            <p:ph type="sldNum" sz="quarter" idx="16"/>
          </p:nvPr>
        </p:nvSpPr>
        <p:spPr/>
        <p:txBody>
          <a:bodyPr/>
          <a:lstStyle/>
          <a:p>
            <a:fld id="{DF7F771E-9578-4C04-B869-01AF4C35C90C}" type="slidenum">
              <a:rPr lang="de-DE" smtClean="0"/>
              <a:t>48</a:t>
            </a:fld>
            <a:endParaRPr lang="de-DE"/>
          </a:p>
        </p:txBody>
      </p:sp>
      <p:sp>
        <p:nvSpPr>
          <p:cNvPr id="5" name="Untertitel 5">
            <a:extLst>
              <a:ext uri="{FF2B5EF4-FFF2-40B4-BE49-F238E27FC236}">
                <a16:creationId xmlns:a16="http://schemas.microsoft.com/office/drawing/2014/main" id="{B0E3E746-281A-2553-3A6F-40F5F90DAEE6}"/>
              </a:ext>
            </a:extLst>
          </p:cNvPr>
          <p:cNvSpPr txBox="1">
            <a:spLocks/>
          </p:cNvSpPr>
          <p:nvPr/>
        </p:nvSpPr>
        <p:spPr>
          <a:xfrm>
            <a:off x="719138" y="127793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4</a:t>
            </a:r>
          </a:p>
        </p:txBody>
      </p:sp>
      <p:pic>
        <p:nvPicPr>
          <p:cNvPr id="6" name="Grafik 5" descr="Skizze mit einfarbiger Füllung">
            <a:extLst>
              <a:ext uri="{FF2B5EF4-FFF2-40B4-BE49-F238E27FC236}">
                <a16:creationId xmlns:a16="http://schemas.microsoft.com/office/drawing/2014/main" id="{79DA6311-75CB-F143-6A95-391A89D587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54" y="8148471"/>
            <a:ext cx="379044" cy="379044"/>
          </a:xfrm>
          <a:prstGeom prst="rect">
            <a:avLst/>
          </a:prstGeom>
        </p:spPr>
      </p:pic>
      <p:pic>
        <p:nvPicPr>
          <p:cNvPr id="11" name="Picture 10" descr="A diagram of different types of electricity&#10;&#10;Description automatically generated">
            <a:extLst>
              <a:ext uri="{FF2B5EF4-FFF2-40B4-BE49-F238E27FC236}">
                <a16:creationId xmlns:a16="http://schemas.microsoft.com/office/drawing/2014/main" id="{B765D0EE-33EC-9499-2EBA-FEFD7BFC6CE2}"/>
              </a:ext>
            </a:extLst>
          </p:cNvPr>
          <p:cNvPicPr>
            <a:picLocks noChangeAspect="1"/>
          </p:cNvPicPr>
          <p:nvPr/>
        </p:nvPicPr>
        <p:blipFill>
          <a:blip r:embed="rId4"/>
          <a:stretch>
            <a:fillRect/>
          </a:stretch>
        </p:blipFill>
        <p:spPr>
          <a:xfrm>
            <a:off x="2251552" y="5075341"/>
            <a:ext cx="3390900" cy="2171700"/>
          </a:xfrm>
          <a:prstGeom prst="rect">
            <a:avLst/>
          </a:prstGeom>
        </p:spPr>
      </p:pic>
      <p:graphicFrame>
        <p:nvGraphicFramePr>
          <p:cNvPr id="2" name="Chart 14">
            <a:extLst>
              <a:ext uri="{FF2B5EF4-FFF2-40B4-BE49-F238E27FC236}">
                <a16:creationId xmlns:a16="http://schemas.microsoft.com/office/drawing/2014/main" id="{3436BB44-7728-BE67-F43E-4526C7AD6C95}"/>
              </a:ext>
            </a:extLst>
          </p:cNvPr>
          <p:cNvGraphicFramePr/>
          <p:nvPr>
            <p:extLst>
              <p:ext uri="{D42A27DB-BD31-4B8C-83A1-F6EECF244321}">
                <p14:modId xmlns:p14="http://schemas.microsoft.com/office/powerpoint/2010/main" val="2039979697"/>
              </p:ext>
            </p:extLst>
          </p:nvPr>
        </p:nvGraphicFramePr>
        <p:xfrm>
          <a:off x="1426439" y="4343309"/>
          <a:ext cx="5039783" cy="3359856"/>
        </p:xfrm>
        <a:graphic>
          <a:graphicData uri="http://schemas.openxmlformats.org/drawingml/2006/chart">
            <c:chart xmlns:c="http://schemas.openxmlformats.org/drawingml/2006/chart" xmlns:r="http://schemas.openxmlformats.org/officeDocument/2006/relationships" r:id="rId5"/>
          </a:graphicData>
        </a:graphic>
      </p:graphicFrame>
      <p:sp>
        <p:nvSpPr>
          <p:cNvPr id="12" name="Untertitel 2">
            <a:extLst>
              <a:ext uri="{FF2B5EF4-FFF2-40B4-BE49-F238E27FC236}">
                <a16:creationId xmlns:a16="http://schemas.microsoft.com/office/drawing/2014/main" id="{C3033B85-DC54-23F5-D82A-0D87CC90F93E}"/>
              </a:ext>
            </a:extLst>
          </p:cNvPr>
          <p:cNvSpPr txBox="1">
            <a:spLocks/>
          </p:cNvSpPr>
          <p:nvPr/>
        </p:nvSpPr>
        <p:spPr>
          <a:xfrm>
            <a:off x="719138" y="1672934"/>
            <a:ext cx="5919009" cy="22606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t>Turbine types and their operation ranges</a:t>
            </a:r>
          </a:p>
          <a:p>
            <a:pPr marL="139700" indent="0"/>
            <a:endParaRPr lang="en-US" sz="1200"/>
          </a:p>
          <a:p>
            <a:pPr marL="139700" indent="0"/>
            <a:r>
              <a:rPr lang="en-US" sz="1200"/>
              <a:t>Below you can find a Turbine Operation Ranges Plot</a:t>
            </a:r>
          </a:p>
          <a:p>
            <a:pPr>
              <a:buFont typeface="+mj-lt"/>
              <a:buAutoNum type="arabicPeriod"/>
            </a:pPr>
            <a:endParaRPr lang="en-US" sz="1200"/>
          </a:p>
          <a:p>
            <a:pPr marL="311150" indent="-171450">
              <a:buClr>
                <a:schemeClr val="accent5"/>
              </a:buClr>
              <a:buSzPct val="121000"/>
              <a:buFont typeface="Arial" panose="020B0604020202020204" pitchFamily="34" charset="0"/>
              <a:buChar char="•"/>
            </a:pPr>
            <a:r>
              <a:rPr lang="en-US" sz="1200"/>
              <a:t>Indicate where Pelton, Francis and Kaplan Turbines operation ranges are </a:t>
            </a:r>
          </a:p>
          <a:p>
            <a:pPr marL="768350" lvl="1" algn="l">
              <a:buClr>
                <a:schemeClr val="accent5"/>
              </a:buClr>
              <a:buSzPct val="121000"/>
              <a:buFont typeface="Courier New" panose="020B0604020202020204" pitchFamily="34" charset="0"/>
              <a:buChar char="o"/>
            </a:pPr>
            <a:r>
              <a:rPr lang="en-US" sz="1200"/>
              <a:t>X-axis: Flow Rate in m</a:t>
            </a:r>
            <a:r>
              <a:rPr lang="en-US" sz="1200" baseline="30000"/>
              <a:t>3</a:t>
            </a:r>
            <a:r>
              <a:rPr lang="en-US" sz="1200"/>
              <a:t> / s (flow of water per second)</a:t>
            </a:r>
          </a:p>
          <a:p>
            <a:pPr marL="768350" lvl="1" algn="l">
              <a:buClr>
                <a:schemeClr val="accent5"/>
              </a:buClr>
              <a:buSzPct val="121000"/>
              <a:buFont typeface="Courier New" panose="020B0604020202020204" pitchFamily="34" charset="0"/>
              <a:buChar char="o"/>
            </a:pPr>
            <a:r>
              <a:rPr lang="en-US" sz="1200"/>
              <a:t>Y-axis: Head height in meters</a:t>
            </a:r>
          </a:p>
          <a:p>
            <a:pPr marL="311150" indent="-171450">
              <a:buClr>
                <a:schemeClr val="accent5"/>
              </a:buClr>
              <a:buSzPct val="121000"/>
              <a:buFont typeface="Arial" panose="020B0604020202020204" pitchFamily="34" charset="0"/>
              <a:buChar char="•"/>
            </a:pPr>
            <a:r>
              <a:rPr lang="en-US" sz="1200" u="sng"/>
              <a:t>HINT</a:t>
            </a:r>
            <a:r>
              <a:rPr lang="en-US" sz="1200"/>
              <a:t>: first make a dot to indicate the general location, then think about an operation </a:t>
            </a:r>
            <a:r>
              <a:rPr lang="en-US" sz="1200">
                <a:solidFill>
                  <a:schemeClr val="accent5"/>
                </a:solidFill>
              </a:rPr>
              <a:t>area!</a:t>
            </a:r>
          </a:p>
          <a:p>
            <a:pPr marL="311150" indent="-171450">
              <a:buFont typeface="Arial" panose="020B0604020202020204" pitchFamily="34" charset="0"/>
              <a:buChar char="•"/>
            </a:pPr>
            <a:endParaRPr lang="en-US" sz="1200"/>
          </a:p>
        </p:txBody>
      </p:sp>
    </p:spTree>
    <p:extLst>
      <p:ext uri="{BB962C8B-B14F-4D97-AF65-F5344CB8AC3E}">
        <p14:creationId xmlns:p14="http://schemas.microsoft.com/office/powerpoint/2010/main" val="687854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DC02B-5A0C-7026-FAE5-A75FA75F7D99}"/>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9502CF53-1546-F003-A39A-D6A62F100315}"/>
              </a:ext>
            </a:extLst>
          </p:cNvPr>
          <p:cNvSpPr>
            <a:spLocks noGrp="1"/>
          </p:cNvSpPr>
          <p:nvPr>
            <p:ph type="sldNum" sz="quarter" idx="16"/>
          </p:nvPr>
        </p:nvSpPr>
        <p:spPr/>
        <p:txBody>
          <a:bodyPr/>
          <a:lstStyle/>
          <a:p>
            <a:fld id="{DF7F771E-9578-4C04-B869-01AF4C35C90C}" type="slidenum">
              <a:rPr lang="de-DE" smtClean="0"/>
              <a:t>49</a:t>
            </a:fld>
            <a:endParaRPr lang="de-DE"/>
          </a:p>
        </p:txBody>
      </p:sp>
      <p:sp>
        <p:nvSpPr>
          <p:cNvPr id="9" name="Rechteck 1">
            <a:extLst>
              <a:ext uri="{FF2B5EF4-FFF2-40B4-BE49-F238E27FC236}">
                <a16:creationId xmlns:a16="http://schemas.microsoft.com/office/drawing/2014/main" id="{042EA46A-1B60-EFEB-BC34-94E749887435}"/>
              </a:ext>
            </a:extLst>
          </p:cNvPr>
          <p:cNvSpPr/>
          <p:nvPr/>
        </p:nvSpPr>
        <p:spPr>
          <a:xfrm>
            <a:off x="719138" y="1596647"/>
            <a:ext cx="5740172" cy="4856404"/>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E8C81C1D-7A57-06EC-9837-44DF5555DE59}"/>
              </a:ext>
            </a:extLst>
          </p:cNvPr>
          <p:cNvSpPr>
            <a:spLocks noChangeAspect="1"/>
          </p:cNvSpPr>
          <p:nvPr/>
        </p:nvSpPr>
        <p:spPr>
          <a:xfrm>
            <a:off x="612897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545F3F19-6ADD-7F2F-EA96-D775FEF08C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12" name="Untertitel 5">
            <a:extLst>
              <a:ext uri="{FF2B5EF4-FFF2-40B4-BE49-F238E27FC236}">
                <a16:creationId xmlns:a16="http://schemas.microsoft.com/office/drawing/2014/main" id="{9A0A531B-5A80-9BA1-A51D-4D54887E235A}"/>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4CCB3E85-1073-A53A-ECA5-73FFC227F90A}"/>
              </a:ext>
            </a:extLst>
          </p:cNvPr>
          <p:cNvSpPr>
            <a:spLocks noGrp="1"/>
          </p:cNvSpPr>
          <p:nvPr>
            <p:ph type="subTitle" idx="1"/>
          </p:nvPr>
        </p:nvSpPr>
        <p:spPr>
          <a:xfrm>
            <a:off x="907683" y="2071274"/>
            <a:ext cx="5281980" cy="4201540"/>
          </a:xfrm>
        </p:spPr>
        <p:txBody>
          <a:bodyPr/>
          <a:lstStyle/>
          <a:p>
            <a:pPr marL="144000" indent="0">
              <a:lnSpc>
                <a:spcPct val="114999"/>
              </a:lnSpc>
            </a:pPr>
            <a:r>
              <a:rPr lang="en-US" sz="1200">
                <a:solidFill>
                  <a:srgbClr val="000000"/>
                </a:solidFill>
              </a:rPr>
              <a:t>The Kaplan, Francis, and Pelton turbines exist because water behaves differently in various environments, requiring specific turbine designs to harness its energy efficiently:</a:t>
            </a:r>
          </a:p>
          <a:p>
            <a:endParaRPr lang="en-US" sz="1200"/>
          </a:p>
          <a:p>
            <a:pPr marL="139700" indent="0">
              <a:buClr>
                <a:schemeClr val="accent5"/>
              </a:buClr>
            </a:pPr>
            <a:r>
              <a:rPr lang="en-US" sz="1200" b="1"/>
              <a:t>Kaplan Turbine</a:t>
            </a:r>
            <a:r>
              <a:rPr lang="en-US" sz="1200"/>
              <a:t>: Ideal for </a:t>
            </a:r>
            <a:r>
              <a:rPr lang="en-US" sz="1200" b="1"/>
              <a:t>large volumes of slow-moving water</a:t>
            </a:r>
            <a:r>
              <a:rPr lang="en-US" sz="1200"/>
              <a:t> with low height differences, such as wide rivers.</a:t>
            </a:r>
          </a:p>
          <a:p>
            <a:pPr>
              <a:buClr>
                <a:schemeClr val="accent5"/>
              </a:buClr>
              <a:buFont typeface="Arial" panose="020B0604020202020204" pitchFamily="34" charset="0"/>
              <a:buChar char="•"/>
            </a:pPr>
            <a:r>
              <a:rPr lang="en-US" sz="1200"/>
              <a:t>Kaplan: Head range 2 – 75m / Flow rate up to 800 m</a:t>
            </a:r>
            <a:r>
              <a:rPr lang="en-US" sz="1200" baseline="30000"/>
              <a:t>3</a:t>
            </a:r>
            <a:r>
              <a:rPr lang="en-US" sz="1200"/>
              <a:t> / s</a:t>
            </a:r>
          </a:p>
          <a:p>
            <a:pPr>
              <a:buFont typeface="Arial" panose="020B0604020202020204" pitchFamily="34" charset="0"/>
              <a:buChar char="•"/>
            </a:pPr>
            <a:endParaRPr lang="en-US" sz="1200"/>
          </a:p>
          <a:p>
            <a:pPr marL="139700" indent="0">
              <a:buClr>
                <a:schemeClr val="accent5"/>
              </a:buClr>
            </a:pPr>
            <a:r>
              <a:rPr lang="en-US" sz="1200" b="1"/>
              <a:t>Francis Turbine</a:t>
            </a:r>
            <a:r>
              <a:rPr lang="en-US" sz="1200"/>
              <a:t>: Best for environments with a </a:t>
            </a:r>
            <a:r>
              <a:rPr lang="en-US" sz="1200" b="1"/>
              <a:t>balanced combination of flow rate and height</a:t>
            </a:r>
            <a:r>
              <a:rPr lang="en-US" sz="1200"/>
              <a:t>, like medium-sized dams.</a:t>
            </a:r>
          </a:p>
          <a:p>
            <a:pPr>
              <a:buClr>
                <a:schemeClr val="accent5"/>
              </a:buClr>
              <a:buFont typeface="Arial" panose="020B0604020202020204" pitchFamily="34" charset="0"/>
              <a:buChar char="•"/>
            </a:pPr>
            <a:r>
              <a:rPr lang="en-US" sz="1200"/>
              <a:t>Francis: Head range 30-800m / Flow rate up to 800 m</a:t>
            </a:r>
            <a:r>
              <a:rPr lang="en-US" sz="1200" baseline="30000"/>
              <a:t>3</a:t>
            </a:r>
            <a:r>
              <a:rPr lang="en-US" sz="1200"/>
              <a:t> / s</a:t>
            </a:r>
          </a:p>
          <a:p>
            <a:pPr>
              <a:buFont typeface="Arial" panose="020B0604020202020204" pitchFamily="34" charset="0"/>
              <a:buChar char="•"/>
            </a:pPr>
            <a:endParaRPr lang="en-US" sz="1200"/>
          </a:p>
          <a:p>
            <a:pPr marL="139700" indent="0">
              <a:buClr>
                <a:schemeClr val="accent5"/>
              </a:buClr>
            </a:pPr>
            <a:r>
              <a:rPr lang="en-US" sz="1200" b="1"/>
              <a:t>Pelton Turbine</a:t>
            </a:r>
            <a:r>
              <a:rPr lang="en-US" sz="1200"/>
              <a:t>: Designed for </a:t>
            </a:r>
            <a:r>
              <a:rPr lang="en-US" sz="1200" b="1"/>
              <a:t>high water pressure and large height differences</a:t>
            </a:r>
            <a:r>
              <a:rPr lang="en-US" sz="1200"/>
              <a:t>, such as tall mountain dams.</a:t>
            </a:r>
          </a:p>
          <a:p>
            <a:pPr>
              <a:buClr>
                <a:schemeClr val="accent5"/>
              </a:buClr>
              <a:buFont typeface="Arial" panose="020B0604020202020204" pitchFamily="34" charset="0"/>
              <a:buChar char="•"/>
            </a:pPr>
            <a:r>
              <a:rPr lang="en-US" sz="1200"/>
              <a:t>Pelton: Head range 150 – 1800m / Flow rate up to 60 m</a:t>
            </a:r>
            <a:r>
              <a:rPr lang="en-US" sz="1200" baseline="30000"/>
              <a:t>3</a:t>
            </a:r>
            <a:r>
              <a:rPr lang="en-US" sz="1200"/>
              <a:t> / s</a:t>
            </a:r>
          </a:p>
          <a:p>
            <a:pPr>
              <a:buFont typeface="Arial" panose="020B0604020202020204" pitchFamily="34" charset="0"/>
              <a:buChar char="•"/>
            </a:pPr>
            <a:endParaRPr lang="en-US" sz="1200"/>
          </a:p>
          <a:p>
            <a:pPr marL="144000" indent="0">
              <a:lnSpc>
                <a:spcPct val="114999"/>
              </a:lnSpc>
            </a:pPr>
            <a:r>
              <a:rPr lang="en-US" sz="1200">
                <a:solidFill>
                  <a:srgbClr val="000000"/>
                </a:solidFill>
              </a:rPr>
              <a:t>These three turbine types perform better in different environments because they are optimized for specific water flow conditions (speed, volume, and pressure) to maximize energy generation.</a:t>
            </a:r>
          </a:p>
        </p:txBody>
      </p:sp>
    </p:spTree>
    <p:extLst>
      <p:ext uri="{BB962C8B-B14F-4D97-AF65-F5344CB8AC3E}">
        <p14:creationId xmlns:p14="http://schemas.microsoft.com/office/powerpoint/2010/main" val="2222115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AEF328F-6DF4-4E36-7514-BE5192F27FB2}"/>
              </a:ext>
            </a:extLst>
          </p:cNvPr>
          <p:cNvGraphicFramePr>
            <a:graphicFrameLocks noChangeAspect="1"/>
          </p:cNvGraphicFramePr>
          <p:nvPr>
            <p:custDataLst>
              <p:tags r:id="rId1"/>
            </p:custDataLst>
            <p:extLst>
              <p:ext uri="{D42A27DB-BD31-4B8C-83A1-F6EECF244321}">
                <p14:modId xmlns:p14="http://schemas.microsoft.com/office/powerpoint/2010/main" val="647138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1AEF328F-6DF4-4E36-7514-BE5192F27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a:xfrm>
            <a:off x="718748" y="1277938"/>
            <a:ext cx="6369566" cy="782290"/>
          </a:xfrm>
        </p:spPr>
        <p:txBody>
          <a:bodyPr vert="horz"/>
          <a:lstStyle/>
          <a:p>
            <a:r>
              <a:rPr lang="en-AU"/>
              <a:t>Why is Hydro-Energy important?</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de-DE" smtClean="0"/>
              <a:t>5</a:t>
            </a:fld>
            <a:endParaRPr lang="de-DE"/>
          </a:p>
        </p:txBody>
      </p:sp>
      <p:sp>
        <p:nvSpPr>
          <p:cNvPr id="6" name="Untertitel 3">
            <a:extLst>
              <a:ext uri="{FF2B5EF4-FFF2-40B4-BE49-F238E27FC236}">
                <a16:creationId xmlns:a16="http://schemas.microsoft.com/office/drawing/2014/main" id="{0E630E31-56A7-45D2-FE61-A1F165CD464C}"/>
              </a:ext>
            </a:extLst>
          </p:cNvPr>
          <p:cNvSpPr txBox="1">
            <a:spLocks/>
          </p:cNvSpPr>
          <p:nvPr/>
        </p:nvSpPr>
        <p:spPr>
          <a:xfrm>
            <a:off x="718747" y="1970890"/>
            <a:ext cx="6245677" cy="77702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200">
                <a:solidFill>
                  <a:srgbClr val="000000"/>
                </a:solidFill>
              </a:rPr>
              <a:t>In this part you will get introduced to the meaning of hydropower, why it might be particularly important in Ghana and explore some advantages of it. </a:t>
            </a:r>
            <a:r>
              <a:rPr lang="en-GB" sz="1200">
                <a:solidFill>
                  <a:srgbClr val="000000"/>
                </a:solidFill>
              </a:rPr>
              <a:t>“Hydropower” contains the Greek word “</a:t>
            </a:r>
            <a:r>
              <a:rPr lang="en-GB" sz="1200" err="1">
                <a:solidFill>
                  <a:srgbClr val="000000"/>
                </a:solidFill>
              </a:rPr>
              <a:t>Hydor</a:t>
            </a:r>
            <a:r>
              <a:rPr lang="en-GB" sz="1200">
                <a:solidFill>
                  <a:srgbClr val="000000"/>
                </a:solidFill>
              </a:rPr>
              <a:t>” meaning water. “Power” refers to energy.  Hence, when talking about hydropower, we are referring to the energy gained from water sources. This energy is coming from the force of the movement of water. This motion is part of a steady natural cycle, the water cycle, which driver is the sun.</a:t>
            </a:r>
            <a:endParaRPr lang="de-DE" sz="1200">
              <a:solidFill>
                <a:srgbClr val="000000"/>
              </a:solidFill>
            </a:endParaRPr>
          </a:p>
          <a:p>
            <a:pPr>
              <a:lnSpc>
                <a:spcPct val="114999"/>
              </a:lnSpc>
            </a:pPr>
            <a:endParaRPr lang="de-DE" sz="1200">
              <a:solidFill>
                <a:srgbClr val="000000"/>
              </a:solidFill>
              <a:latin typeface="Sofia Sans" panose="020B0604020202020204" charset="0"/>
            </a:endParaRPr>
          </a:p>
          <a:p>
            <a:pPr>
              <a:lnSpc>
                <a:spcPct val="114999"/>
              </a:lnSpc>
              <a:spcAft>
                <a:spcPts val="600"/>
              </a:spcAft>
            </a:pPr>
            <a:r>
              <a:rPr lang="en-US" sz="1500" b="1">
                <a:solidFill>
                  <a:srgbClr val="3B5775"/>
                </a:solidFill>
                <a:latin typeface="Epilogue" panose="020B0604020202020204" charset="0"/>
                <a:cs typeface="Epilogue" panose="020B0604020202020204" charset="0"/>
              </a:rPr>
              <a:t>What are some Advantages of Hydro Power</a:t>
            </a:r>
            <a:endParaRPr lang="de-DE" sz="1500" b="1">
              <a:solidFill>
                <a:srgbClr val="3B5775"/>
              </a:solidFill>
              <a:latin typeface="Epilogue" panose="020B0604020202020204" charset="0"/>
              <a:cs typeface="Epilogue" panose="020B0604020202020204" charset="0"/>
            </a:endParaRPr>
          </a:p>
          <a:p>
            <a:pPr marL="144000" indent="0">
              <a:lnSpc>
                <a:spcPct val="114999"/>
              </a:lnSpc>
              <a:buClr>
                <a:schemeClr val="accent5"/>
              </a:buClr>
            </a:pPr>
            <a:r>
              <a:rPr lang="en-US" sz="1200" b="1">
                <a:solidFill>
                  <a:srgbClr val="000000"/>
                </a:solidFill>
                <a:latin typeface="Sofia Sans" panose="020B0604020202020204" charset="0"/>
              </a:rPr>
              <a:t>Renewable Energy Source</a:t>
            </a:r>
            <a:endParaRPr lang="de-DE" sz="1200" b="1">
              <a:solidFill>
                <a:srgbClr val="000000"/>
              </a:solidFill>
              <a:latin typeface="Sofia Sans" panose="020B0604020202020204" charset="0"/>
            </a:endParaRPr>
          </a:p>
          <a:p>
            <a:pPr marL="144000" indent="0" defTabSz="414000">
              <a:lnSpc>
                <a:spcPct val="114999"/>
              </a:lnSpc>
            </a:pPr>
            <a:r>
              <a:rPr lang="en-US" sz="1200">
                <a:solidFill>
                  <a:srgbClr val="000000"/>
                </a:solidFill>
              </a:rPr>
              <a:t>Hydropower relies on this water cycle. The sun as a continuous source of energy is unremittingly driving this water cycle. Since water is naturally replenished through rainfall and rivers, hydropower is a sustainable energy source that won’t run out as long as the sun drives this water cycle.</a:t>
            </a:r>
          </a:p>
          <a:p>
            <a:pPr marL="0" indent="0">
              <a:lnSpc>
                <a:spcPct val="114999"/>
              </a:lnSpc>
              <a:buClr>
                <a:schemeClr val="accent5"/>
              </a:buClr>
            </a:pPr>
            <a:endParaRPr lang="de-DE" sz="1200">
              <a:latin typeface="Sofia Sans" panose="020B0604020202020204" charset="0"/>
            </a:endParaRPr>
          </a:p>
          <a:p>
            <a:pPr marL="144000" indent="0">
              <a:lnSpc>
                <a:spcPct val="114999"/>
              </a:lnSpc>
              <a:buClr>
                <a:schemeClr val="accent5"/>
              </a:buClr>
            </a:pPr>
            <a:r>
              <a:rPr lang="en-US" sz="1200" b="1">
                <a:solidFill>
                  <a:srgbClr val="000000"/>
                </a:solidFill>
                <a:latin typeface="Sofia Sans" panose="020B0604020202020204" charset="0"/>
              </a:rPr>
              <a:t>Environmentally Friendly</a:t>
            </a:r>
            <a:endParaRPr lang="de-DE" sz="1200" b="1">
              <a:solidFill>
                <a:srgbClr val="000000"/>
              </a:solidFill>
              <a:latin typeface="Sofia Sans" panose="020B0604020202020204" charset="0"/>
            </a:endParaRPr>
          </a:p>
          <a:p>
            <a:pPr marL="144000" indent="0" defTabSz="414000">
              <a:lnSpc>
                <a:spcPct val="114999"/>
              </a:lnSpc>
            </a:pPr>
            <a:r>
              <a:rPr lang="en-US" sz="1200">
                <a:solidFill>
                  <a:srgbClr val="000000"/>
                </a:solidFill>
              </a:rPr>
              <a:t>During operation, Hydropower produces almost no greenhouse gas emissions, which have a harmful effect on the environment.</a:t>
            </a:r>
            <a:endParaRPr lang="de-DE" sz="1200">
              <a:solidFill>
                <a:srgbClr val="000000"/>
              </a:solidFill>
            </a:endParaRPr>
          </a:p>
          <a:p>
            <a:pPr indent="0">
              <a:lnSpc>
                <a:spcPct val="114999"/>
              </a:lnSpc>
            </a:pPr>
            <a:endParaRPr lang="de-DE" sz="1200">
              <a:latin typeface="Sofia Sans" panose="020B0604020202020204" charset="0"/>
            </a:endParaRPr>
          </a:p>
          <a:p>
            <a:pPr marL="144000" indent="0">
              <a:lnSpc>
                <a:spcPct val="114999"/>
              </a:lnSpc>
              <a:buClr>
                <a:schemeClr val="accent5"/>
              </a:buClr>
            </a:pPr>
            <a:r>
              <a:rPr lang="en-US" sz="1200" b="1">
                <a:solidFill>
                  <a:srgbClr val="000000"/>
                </a:solidFill>
                <a:latin typeface="Sofia Sans" panose="020B0604020202020204" charset="0"/>
              </a:rPr>
              <a:t>Reliable and Consistent Energy Source</a:t>
            </a:r>
            <a:endParaRPr lang="de-DE" sz="1200" b="1">
              <a:solidFill>
                <a:srgbClr val="000000"/>
              </a:solidFill>
              <a:latin typeface="Sofia Sans" panose="020B0604020202020204" charset="0"/>
            </a:endParaRPr>
          </a:p>
          <a:p>
            <a:pPr marL="144000" indent="0" defTabSz="414000">
              <a:lnSpc>
                <a:spcPct val="114999"/>
              </a:lnSpc>
            </a:pPr>
            <a:r>
              <a:rPr lang="en-US" sz="1200">
                <a:solidFill>
                  <a:srgbClr val="000000"/>
                </a:solidFill>
              </a:rPr>
              <a:t>Despite Solar or Wind power, which depend on fluctuating weather conditions, Hydropower plants can produce energy consistently. This makes it an excellent choice for meeting constant energy demands, hence balancing the energy grid.</a:t>
            </a:r>
            <a:endParaRPr lang="de-DE" sz="1200">
              <a:solidFill>
                <a:srgbClr val="000000"/>
              </a:solidFill>
            </a:endParaRPr>
          </a:p>
          <a:p>
            <a:pPr>
              <a:lnSpc>
                <a:spcPct val="114999"/>
              </a:lnSpc>
            </a:pPr>
            <a:endParaRPr lang="de-DE" sz="1200">
              <a:solidFill>
                <a:srgbClr val="000000"/>
              </a:solidFill>
              <a:latin typeface="Sofia Sans" panose="020B0604020202020204" charset="0"/>
            </a:endParaRPr>
          </a:p>
          <a:p>
            <a:pPr marL="144000" indent="0">
              <a:lnSpc>
                <a:spcPct val="114999"/>
              </a:lnSpc>
              <a:buClr>
                <a:schemeClr val="accent5"/>
              </a:buClr>
            </a:pPr>
            <a:r>
              <a:rPr lang="en-US" sz="1200" b="1">
                <a:solidFill>
                  <a:srgbClr val="000000"/>
                </a:solidFill>
                <a:latin typeface="Sofia Sans" panose="020B0604020202020204" charset="0"/>
              </a:rPr>
              <a:t>Energy Storage Capability</a:t>
            </a:r>
            <a:endParaRPr lang="de-DE" sz="1200" b="1">
              <a:solidFill>
                <a:srgbClr val="000000"/>
              </a:solidFill>
              <a:latin typeface="Sofia Sans" panose="020B0604020202020204" charset="0"/>
            </a:endParaRPr>
          </a:p>
          <a:p>
            <a:pPr marL="144000" indent="0" defTabSz="414000">
              <a:lnSpc>
                <a:spcPct val="114999"/>
              </a:lnSpc>
            </a:pPr>
            <a:r>
              <a:rPr lang="en-US" sz="1200">
                <a:solidFill>
                  <a:srgbClr val="000000"/>
                </a:solidFill>
              </a:rPr>
              <a:t>Some Hydropower plants can act like giant batteries. When there is low demand and/or excess electricity, they can pump water to an elevated place and release it, when demand is rising. This capability can also be used to balance supply and demand.</a:t>
            </a:r>
            <a:endParaRPr lang="de-DE" sz="1200">
              <a:solidFill>
                <a:srgbClr val="000000"/>
              </a:solidFill>
            </a:endParaRPr>
          </a:p>
          <a:p>
            <a:pPr>
              <a:lnSpc>
                <a:spcPct val="114999"/>
              </a:lnSpc>
            </a:pPr>
            <a:endParaRPr lang="de-DE" sz="1200">
              <a:solidFill>
                <a:srgbClr val="000000"/>
              </a:solidFill>
              <a:latin typeface="Sofia Sans" panose="020B0604020202020204" charset="0"/>
            </a:endParaRPr>
          </a:p>
          <a:p>
            <a:pPr marL="144000" indent="0">
              <a:lnSpc>
                <a:spcPct val="114999"/>
              </a:lnSpc>
              <a:buClr>
                <a:schemeClr val="accent5"/>
              </a:buClr>
            </a:pPr>
            <a:r>
              <a:rPr lang="en-US" sz="1200" b="1">
                <a:solidFill>
                  <a:srgbClr val="000000"/>
                </a:solidFill>
                <a:latin typeface="Sofia Sans" panose="020B0604020202020204" charset="0"/>
              </a:rPr>
              <a:t>Long-Term Domestic Source of Energy</a:t>
            </a:r>
            <a:endParaRPr lang="de-DE" sz="1200" b="1">
              <a:solidFill>
                <a:srgbClr val="000000"/>
              </a:solidFill>
              <a:latin typeface="Sofia Sans" panose="020B0604020202020204" charset="0"/>
            </a:endParaRPr>
          </a:p>
          <a:p>
            <a:pPr marL="144000" indent="0" defTabSz="414000">
              <a:lnSpc>
                <a:spcPct val="114999"/>
              </a:lnSpc>
            </a:pPr>
            <a:r>
              <a:rPr lang="en-US" sz="1200">
                <a:solidFill>
                  <a:srgbClr val="000000"/>
                </a:solidFill>
              </a:rPr>
              <a:t>Hydropower’s fuel is water and it uses local water resources. Therefore, countries don’t rely on imported fuels like oil or natural gas. Once a hydropower plant is built, it can operate for decades with relatively low maintenance costs. This in turn makes hydropower an excellent choice for a country's energy independence, without being affected by global fuel prices or shortages.</a:t>
            </a:r>
            <a:endParaRPr lang="de-DE" sz="1200">
              <a:solidFill>
                <a:srgbClr val="000000"/>
              </a:solidFill>
            </a:endParaRPr>
          </a:p>
          <a:p>
            <a:pPr>
              <a:lnSpc>
                <a:spcPct val="114999"/>
              </a:lnSpc>
            </a:pPr>
            <a:endParaRPr lang="en-US" sz="1200">
              <a:latin typeface="Sofia Sans" panose="020B0604020202020204" charset="0"/>
            </a:endParaRPr>
          </a:p>
        </p:txBody>
      </p:sp>
      <p:pic>
        <p:nvPicPr>
          <p:cNvPr id="8" name="Grafik 7" descr="Ein Bild, das Grafiken, Kreis, Kunst, Grafikdesign enthält.&#10;&#10;Automatisch generierte Beschreibung">
            <a:extLst>
              <a:ext uri="{FF2B5EF4-FFF2-40B4-BE49-F238E27FC236}">
                <a16:creationId xmlns:a16="http://schemas.microsoft.com/office/drawing/2014/main" id="{BF5F13C6-E5D5-20E2-233F-3BEC25EB4711}"/>
              </a:ext>
            </a:extLst>
          </p:cNvPr>
          <p:cNvPicPr>
            <a:picLocks noChangeAspect="1"/>
          </p:cNvPicPr>
          <p:nvPr/>
        </p:nvPicPr>
        <p:blipFill>
          <a:blip r:embed="rId5"/>
          <a:stretch>
            <a:fillRect/>
          </a:stretch>
        </p:blipFill>
        <p:spPr>
          <a:xfrm>
            <a:off x="5919369" y="1255414"/>
            <a:ext cx="738000" cy="738000"/>
          </a:xfrm>
          <a:prstGeom prst="rect">
            <a:avLst/>
          </a:prstGeom>
        </p:spPr>
      </p:pic>
    </p:spTree>
    <p:extLst>
      <p:ext uri="{BB962C8B-B14F-4D97-AF65-F5344CB8AC3E}">
        <p14:creationId xmlns:p14="http://schemas.microsoft.com/office/powerpoint/2010/main" val="1183542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A90FC1BA-F111-D31D-6311-C69F0E98B23D}"/>
            </a:ext>
          </a:extLst>
        </p:cNvPr>
        <p:cNvGrpSpPr/>
        <p:nvPr/>
      </p:nvGrpSpPr>
      <p:grpSpPr>
        <a:xfrm>
          <a:off x="0" y="0"/>
          <a:ext cx="0" cy="0"/>
          <a:chOff x="0" y="0"/>
          <a:chExt cx="0" cy="0"/>
        </a:xfrm>
      </p:grpSpPr>
      <p:sp>
        <p:nvSpPr>
          <p:cNvPr id="304" name="Google Shape;304;p24">
            <a:extLst>
              <a:ext uri="{FF2B5EF4-FFF2-40B4-BE49-F238E27FC236}">
                <a16:creationId xmlns:a16="http://schemas.microsoft.com/office/drawing/2014/main" id="{A9EF490A-28D9-0366-3228-3EF85151315F}"/>
              </a:ext>
            </a:extLst>
          </p:cNvPr>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305" name="Google Shape;305;p24">
            <a:extLst>
              <a:ext uri="{FF2B5EF4-FFF2-40B4-BE49-F238E27FC236}">
                <a16:creationId xmlns:a16="http://schemas.microsoft.com/office/drawing/2014/main" id="{5158C0E5-63A7-F1F5-F279-B896A6E92C30}"/>
              </a:ext>
            </a:extLst>
          </p:cNvPr>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a:extLst>
              <a:ext uri="{FF2B5EF4-FFF2-40B4-BE49-F238E27FC236}">
                <a16:creationId xmlns:a16="http://schemas.microsoft.com/office/drawing/2014/main" id="{E8394B9F-09B4-5BD0-5E2A-007EAC5C7428}"/>
              </a:ext>
            </a:extLst>
          </p:cNvPr>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
              <a:t>Hydro Education HUB</a:t>
            </a:r>
            <a:endParaRPr lang="it-IT"/>
          </a:p>
          <a:p>
            <a:r>
              <a:rPr lang="en" b="0"/>
              <a:t>Chapter 3</a:t>
            </a:r>
            <a:endParaRPr b="0"/>
          </a:p>
        </p:txBody>
      </p:sp>
      <p:sp>
        <p:nvSpPr>
          <p:cNvPr id="327" name="Google Shape;327;p24">
            <a:extLst>
              <a:ext uri="{FF2B5EF4-FFF2-40B4-BE49-F238E27FC236}">
                <a16:creationId xmlns:a16="http://schemas.microsoft.com/office/drawing/2014/main" id="{4567EDDE-ADFF-1137-EAAB-F45BCF0D4A7F}"/>
              </a:ext>
            </a:extLst>
          </p:cNvPr>
          <p:cNvSpPr txBox="1">
            <a:spLocks noGrp="1"/>
          </p:cNvSpPr>
          <p:nvPr>
            <p:ph type="subTitle" idx="1"/>
          </p:nvPr>
        </p:nvSpPr>
        <p:spPr>
          <a:xfrm>
            <a:off x="2753754" y="5992363"/>
            <a:ext cx="4216106" cy="1322837"/>
          </a:xfrm>
          <a:prstGeom prst="rect">
            <a:avLst/>
          </a:prstGeom>
          <a:solidFill>
            <a:schemeClr val="accent5">
              <a:lumMod val="20000"/>
              <a:lumOff val="80000"/>
            </a:schemeClr>
          </a:solidFill>
          <a:ln>
            <a:noFill/>
          </a:ln>
        </p:spPr>
        <p:txBody>
          <a:bodyPr spcFirstLastPara="1" wrap="square" lIns="75584" tIns="75584" rIns="75584" bIns="75584" anchor="ctr" anchorCtr="0">
            <a:noAutofit/>
          </a:bodyPr>
          <a:lstStyle/>
          <a:p>
            <a:pPr marL="0" indent="0">
              <a:lnSpc>
                <a:spcPct val="100000"/>
              </a:lnSpc>
            </a:pPr>
            <a:r>
              <a:rPr lang="en-US" sz="2600"/>
              <a:t>Factors Affecting Turbine Performance - Pelton Turbine Experiments</a:t>
            </a:r>
          </a:p>
        </p:txBody>
      </p:sp>
      <p:sp>
        <p:nvSpPr>
          <p:cNvPr id="4" name="Rechteck 3">
            <a:extLst>
              <a:ext uri="{FF2B5EF4-FFF2-40B4-BE49-F238E27FC236}">
                <a16:creationId xmlns:a16="http://schemas.microsoft.com/office/drawing/2014/main" id="{EE3A2CAD-730B-EA25-8CBF-280643B73C84}"/>
              </a:ext>
            </a:extLst>
          </p:cNvPr>
          <p:cNvSpPr/>
          <p:nvPr/>
        </p:nvSpPr>
        <p:spPr>
          <a:xfrm>
            <a:off x="870038" y="4511940"/>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6F5F90D2-5D97-F7EA-AA12-539A94055C71}"/>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12A8B37E-7A98-8EC4-9A4E-FEC90F029EC4}"/>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2" descr="Ein Bild, das Kreis, Kunst, Symmetrie, Design enthält.&#10;&#10;Automatisch generierte Beschreibung">
            <a:extLst>
              <a:ext uri="{FF2B5EF4-FFF2-40B4-BE49-F238E27FC236}">
                <a16:creationId xmlns:a16="http://schemas.microsoft.com/office/drawing/2014/main" id="{19BAC72C-1204-4324-C0EC-C9528FF6686B}"/>
              </a:ext>
            </a:extLst>
          </p:cNvPr>
          <p:cNvPicPr>
            <a:picLocks noChangeAspect="1"/>
          </p:cNvPicPr>
          <p:nvPr/>
        </p:nvPicPr>
        <p:blipFill>
          <a:blip r:embed="rId3"/>
          <a:stretch>
            <a:fillRect/>
          </a:stretch>
        </p:blipFill>
        <p:spPr>
          <a:xfrm>
            <a:off x="480748" y="4511940"/>
            <a:ext cx="2086513" cy="2086513"/>
          </a:xfrm>
          <a:prstGeom prst="rect">
            <a:avLst/>
          </a:prstGeom>
        </p:spPr>
      </p:pic>
    </p:spTree>
    <p:extLst>
      <p:ext uri="{BB962C8B-B14F-4D97-AF65-F5344CB8AC3E}">
        <p14:creationId xmlns:p14="http://schemas.microsoft.com/office/powerpoint/2010/main" val="23834612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C9B70-7F44-9B1C-3395-AFF2228E69E3}"/>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B130EEC8-0F7C-D83D-FFEF-A0F3192688E5}"/>
              </a:ext>
            </a:extLst>
          </p:cNvPr>
          <p:cNvSpPr>
            <a:spLocks noGrp="1"/>
          </p:cNvSpPr>
          <p:nvPr>
            <p:ph type="sldNum" sz="quarter" idx="10"/>
          </p:nvPr>
        </p:nvSpPr>
        <p:spPr/>
        <p:txBody>
          <a:bodyPr/>
          <a:lstStyle/>
          <a:p>
            <a:fld id="{DF7F771E-9578-4C04-B869-01AF4C35C90C}" type="slidenum">
              <a:rPr lang="de-DE" smtClean="0"/>
              <a:t>51</a:t>
            </a:fld>
            <a:endParaRPr lang="de-DE"/>
          </a:p>
        </p:txBody>
      </p:sp>
      <p:sp>
        <p:nvSpPr>
          <p:cNvPr id="8" name="Titel 1">
            <a:extLst>
              <a:ext uri="{FF2B5EF4-FFF2-40B4-BE49-F238E27FC236}">
                <a16:creationId xmlns:a16="http://schemas.microsoft.com/office/drawing/2014/main" id="{8DD02972-53AE-B38A-D9DB-FF27F4C4DAFB}"/>
              </a:ext>
            </a:extLst>
          </p:cNvPr>
          <p:cNvSpPr>
            <a:spLocks noGrp="1"/>
          </p:cNvSpPr>
          <p:nvPr>
            <p:ph type="title"/>
          </p:nvPr>
        </p:nvSpPr>
        <p:spPr>
          <a:xfrm>
            <a:off x="719138" y="1277938"/>
            <a:ext cx="6369175" cy="519708"/>
          </a:xfrm>
        </p:spPr>
        <p:txBody>
          <a:bodyPr/>
          <a:lstStyle/>
          <a:p>
            <a:r>
              <a:rPr lang="de-DE" err="1"/>
              <a:t>Factors</a:t>
            </a:r>
            <a:r>
              <a:rPr lang="de-DE"/>
              <a:t> </a:t>
            </a:r>
            <a:r>
              <a:rPr lang="de-DE" err="1"/>
              <a:t>affecting</a:t>
            </a:r>
            <a:r>
              <a:rPr lang="de-DE"/>
              <a:t> </a:t>
            </a:r>
            <a:r>
              <a:rPr lang="de-DE" err="1"/>
              <a:t>turbine</a:t>
            </a:r>
            <a:r>
              <a:rPr lang="de-DE"/>
              <a:t> – Pelton </a:t>
            </a:r>
            <a:r>
              <a:rPr lang="de-DE" err="1"/>
              <a:t>turbine</a:t>
            </a:r>
            <a:r>
              <a:rPr lang="de-DE"/>
              <a:t> </a:t>
            </a:r>
            <a:r>
              <a:rPr lang="de-DE" err="1"/>
              <a:t>experiments</a:t>
            </a:r>
            <a:endParaRPr lang="de-DE"/>
          </a:p>
        </p:txBody>
      </p:sp>
      <p:sp>
        <p:nvSpPr>
          <p:cNvPr id="9" name="Untertitel 3">
            <a:extLst>
              <a:ext uri="{FF2B5EF4-FFF2-40B4-BE49-F238E27FC236}">
                <a16:creationId xmlns:a16="http://schemas.microsoft.com/office/drawing/2014/main" id="{9C74AE0D-0CE6-F1EA-2A81-05F1E809A2BE}"/>
              </a:ext>
            </a:extLst>
          </p:cNvPr>
          <p:cNvSpPr txBox="1">
            <a:spLocks/>
          </p:cNvSpPr>
          <p:nvPr/>
        </p:nvSpPr>
        <p:spPr>
          <a:xfrm>
            <a:off x="719138" y="2367257"/>
            <a:ext cx="5944509" cy="318175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In this chapter, you will explore:</a:t>
            </a:r>
            <a:br>
              <a:rPr lang="en-US" sz="1200" b="1"/>
            </a:br>
            <a:endParaRPr lang="en-US" sz="1200"/>
          </a:p>
          <a:p>
            <a:pPr>
              <a:buClr>
                <a:srgbClr val="4E749C"/>
              </a:buClr>
              <a:buFont typeface="Arial" panose="020B0604020202020204" pitchFamily="34" charset="0"/>
              <a:buChar char="•"/>
            </a:pPr>
            <a:r>
              <a:rPr lang="en-US" sz="1200" b="1"/>
              <a:t>The Role of Head Height in Hydro-Energy:</a:t>
            </a:r>
            <a:r>
              <a:rPr lang="en-US" sz="1200"/>
              <a:t> Discover how the height of water sources impacts velocity and energy generation, guided by Torricelli’s Law.</a:t>
            </a:r>
          </a:p>
          <a:p>
            <a:pPr>
              <a:buClr>
                <a:srgbClr val="4E749C"/>
              </a:buClr>
              <a:buFont typeface="Arial" panose="020B0604020202020204" pitchFamily="34" charset="0"/>
              <a:buChar char="•"/>
            </a:pPr>
            <a:r>
              <a:rPr lang="en-US" sz="1200" b="1"/>
              <a:t>Water Resistance and Flow:</a:t>
            </a:r>
            <a:r>
              <a:rPr lang="en-US" sz="1200"/>
              <a:t> Learn how obstacles in the water path create resistance, reducing energy output, and understand its analogy to electrical circuits.</a:t>
            </a:r>
          </a:p>
          <a:p>
            <a:pPr>
              <a:buClr>
                <a:srgbClr val="4E749C"/>
              </a:buClr>
              <a:buFont typeface="Arial" panose="020B0604020202020204" pitchFamily="34" charset="0"/>
              <a:buChar char="•"/>
            </a:pPr>
            <a:r>
              <a:rPr lang="en-US" sz="1200" b="1"/>
              <a:t>Water Volume and Energy Output:</a:t>
            </a:r>
            <a:r>
              <a:rPr lang="en-US" sz="1200"/>
              <a:t> Understand the significance of water volume in sustaining turbine performance and optimizing energy production.</a:t>
            </a:r>
          </a:p>
          <a:p>
            <a:pPr>
              <a:buClr>
                <a:srgbClr val="4E749C"/>
              </a:buClr>
              <a:buFont typeface="Arial" panose="020B0604020202020204" pitchFamily="34" charset="0"/>
              <a:buChar char="•"/>
            </a:pPr>
            <a:r>
              <a:rPr lang="en-US" sz="1200" b="1"/>
              <a:t>Turbine Design and Efficiency:</a:t>
            </a:r>
            <a:r>
              <a:rPr lang="en-US" sz="1200"/>
              <a:t> Dive into the importance of rotor designs, blade types, and their adaptation to different water conditions for maximum efficiency.</a:t>
            </a:r>
          </a:p>
          <a:p>
            <a:pPr>
              <a:buClr>
                <a:srgbClr val="4E749C"/>
              </a:buClr>
              <a:buFont typeface="Arial" panose="020B0604020202020204" pitchFamily="34" charset="0"/>
              <a:buChar char="•"/>
            </a:pPr>
            <a:endParaRPr lang="en-US" sz="1200"/>
          </a:p>
          <a:p>
            <a:pPr marL="139700" indent="0"/>
            <a:r>
              <a:rPr lang="en-US" sz="1200"/>
              <a:t>This chapter will provide you with a clear understanding of the mechanics and factors influencing the performance of Hydro-Energy systems, enabling you to appreciate how water is transformed into a powerful renewable energy source.</a:t>
            </a:r>
          </a:p>
          <a:p>
            <a:endParaRPr lang="de-DE" sz="1200"/>
          </a:p>
        </p:txBody>
      </p:sp>
      <p:sp>
        <p:nvSpPr>
          <p:cNvPr id="2" name="Untertitel 3">
            <a:extLst>
              <a:ext uri="{FF2B5EF4-FFF2-40B4-BE49-F238E27FC236}">
                <a16:creationId xmlns:a16="http://schemas.microsoft.com/office/drawing/2014/main" id="{92C459B3-EDA9-4A5D-7582-8D42FEF8C473}"/>
              </a:ext>
            </a:extLst>
          </p:cNvPr>
          <p:cNvSpPr txBox="1">
            <a:spLocks/>
          </p:cNvSpPr>
          <p:nvPr/>
        </p:nvSpPr>
        <p:spPr>
          <a:xfrm>
            <a:off x="719138" y="6275379"/>
            <a:ext cx="5944509" cy="34102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By the end of this chapter, you will:</a:t>
            </a:r>
          </a:p>
          <a:p>
            <a:pPr marL="139700" indent="0"/>
            <a:endParaRPr lang="en-US" sz="1200"/>
          </a:p>
          <a:p>
            <a:pPr marL="368300" indent="-228600">
              <a:buClr>
                <a:srgbClr val="4E749C"/>
              </a:buClr>
              <a:buFont typeface="+mj-lt"/>
              <a:buAutoNum type="arabicPeriod"/>
            </a:pPr>
            <a:r>
              <a:rPr lang="en-US" sz="1200" b="1"/>
              <a:t>Apply Principles of Physics:</a:t>
            </a:r>
            <a:r>
              <a:rPr lang="en-US" sz="1200"/>
              <a:t> Use Torricelli’s Law to explain how water velocity changes with head height and impacts turbine performance.</a:t>
            </a:r>
          </a:p>
          <a:p>
            <a:pPr marL="368300" indent="-228600">
              <a:buClr>
                <a:srgbClr val="4E749C"/>
              </a:buClr>
              <a:buFont typeface="+mj-lt"/>
              <a:buAutoNum type="arabicPeriod"/>
            </a:pPr>
            <a:r>
              <a:rPr lang="en-US" sz="1200" b="1"/>
              <a:t>Evaluate Flow Resistance:</a:t>
            </a:r>
            <a:r>
              <a:rPr lang="en-US" sz="1200"/>
              <a:t> Analyze how resistance in water paths reduces energy output and draw comparisons to electrical circuits.</a:t>
            </a:r>
          </a:p>
          <a:p>
            <a:pPr marL="368300" indent="-228600">
              <a:buClr>
                <a:srgbClr val="4E749C"/>
              </a:buClr>
              <a:buFont typeface="+mj-lt"/>
              <a:buAutoNum type="arabicPeriod"/>
            </a:pPr>
            <a:r>
              <a:rPr lang="en-US" sz="1200" b="1"/>
              <a:t>Assess the Role of Water Volume:</a:t>
            </a:r>
            <a:r>
              <a:rPr lang="en-US" sz="1200"/>
              <a:t> Understand how water availability affects the efficiency and output of Hydro-Energy systems.</a:t>
            </a:r>
          </a:p>
          <a:p>
            <a:pPr marL="368300" indent="-228600">
              <a:buClr>
                <a:srgbClr val="4E749C"/>
              </a:buClr>
              <a:buFont typeface="+mj-lt"/>
              <a:buAutoNum type="arabicPeriod"/>
            </a:pPr>
            <a:r>
              <a:rPr lang="en-US" sz="1200" b="1"/>
              <a:t>Design for Efficiency:</a:t>
            </a:r>
            <a:r>
              <a:rPr lang="en-US" sz="1200"/>
              <a:t> Recognize the importance of turbine design, including rotor shape and blade number, and evaluate their role in maximizing energy generation.</a:t>
            </a:r>
          </a:p>
          <a:p>
            <a:pPr marL="368300" indent="-228600">
              <a:buClr>
                <a:srgbClr val="4E749C"/>
              </a:buClr>
              <a:buFont typeface="+mj-lt"/>
              <a:buAutoNum type="arabicPeriod"/>
            </a:pPr>
            <a:r>
              <a:rPr lang="en-US" sz="1200" b="1"/>
              <a:t>Connect Concepts Across Systems:</a:t>
            </a:r>
            <a:r>
              <a:rPr lang="en-US" sz="1200"/>
              <a:t> Compare Hydro-Energy mechanics with PV and wind systems, identifying unique optimization strategies for each.</a:t>
            </a:r>
          </a:p>
          <a:p>
            <a:pPr marL="368300" indent="-228600">
              <a:buFont typeface="+mj-lt"/>
              <a:buAutoNum type="arabicPeriod"/>
            </a:pPr>
            <a:endParaRPr lang="en-US" sz="1200"/>
          </a:p>
          <a:p>
            <a:pPr marL="139700" indent="0"/>
            <a:r>
              <a:rPr lang="en-US" sz="1200"/>
              <a:t>By the end of this chapter, you will be equipped to critically evaluate the factors that influence Hydro-Energy performance and design systems that adapt to varying conditions effectively.</a:t>
            </a:r>
          </a:p>
        </p:txBody>
      </p:sp>
      <p:sp>
        <p:nvSpPr>
          <p:cNvPr id="3" name="Untertitel 5">
            <a:extLst>
              <a:ext uri="{FF2B5EF4-FFF2-40B4-BE49-F238E27FC236}">
                <a16:creationId xmlns:a16="http://schemas.microsoft.com/office/drawing/2014/main" id="{5E59BADA-AC7C-0F44-D8B7-E6BBCB4D3C95}"/>
              </a:ext>
            </a:extLst>
          </p:cNvPr>
          <p:cNvSpPr txBox="1">
            <a:spLocks/>
          </p:cNvSpPr>
          <p:nvPr/>
        </p:nvSpPr>
        <p:spPr>
          <a:xfrm>
            <a:off x="757462" y="585673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500">
                <a:solidFill>
                  <a:schemeClr val="accent5"/>
                </a:solidFill>
              </a:rPr>
              <a:t>Learning </a:t>
            </a:r>
            <a:r>
              <a:rPr lang="de-DE" sz="1500" err="1">
                <a:solidFill>
                  <a:schemeClr val="accent5"/>
                </a:solidFill>
              </a:rPr>
              <a:t>Objective</a:t>
            </a:r>
            <a:endParaRPr lang="de-DE" sz="1500">
              <a:solidFill>
                <a:schemeClr val="accent5"/>
              </a:solidFill>
            </a:endParaRPr>
          </a:p>
        </p:txBody>
      </p:sp>
    </p:spTree>
    <p:extLst>
      <p:ext uri="{BB962C8B-B14F-4D97-AF65-F5344CB8AC3E}">
        <p14:creationId xmlns:p14="http://schemas.microsoft.com/office/powerpoint/2010/main" val="14985601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DD8B7-E9A3-5FEA-6D90-F1A2B64723C7}"/>
            </a:ext>
          </a:extLst>
        </p:cNvPr>
        <p:cNvGrpSpPr/>
        <p:nvPr/>
      </p:nvGrpSpPr>
      <p:grpSpPr>
        <a:xfrm>
          <a:off x="0" y="0"/>
          <a:ext cx="0" cy="0"/>
          <a:chOff x="0" y="0"/>
          <a:chExt cx="0" cy="0"/>
        </a:xfrm>
      </p:grpSpPr>
      <p:sp>
        <p:nvSpPr>
          <p:cNvPr id="13" name="Untertitel 2">
            <a:extLst>
              <a:ext uri="{FF2B5EF4-FFF2-40B4-BE49-F238E27FC236}">
                <a16:creationId xmlns:a16="http://schemas.microsoft.com/office/drawing/2014/main" id="{44BA3954-8B8E-ACD7-3A51-FFACAFD5934F}"/>
              </a:ext>
            </a:extLst>
          </p:cNvPr>
          <p:cNvSpPr>
            <a:spLocks noGrp="1"/>
          </p:cNvSpPr>
          <p:nvPr>
            <p:ph type="subTitle" idx="1"/>
          </p:nvPr>
        </p:nvSpPr>
        <p:spPr>
          <a:xfrm>
            <a:off x="730528" y="5249335"/>
            <a:ext cx="6239271" cy="4065093"/>
          </a:xfrm>
        </p:spPr>
        <p:txBody>
          <a:bodyPr/>
          <a:lstStyle/>
          <a:p>
            <a:pPr marL="139700" indent="0">
              <a:buNone/>
            </a:pPr>
            <a:r>
              <a:rPr lang="en-US" sz="1200" b="1"/>
              <a:t>Follow these steps to conduct the experiment:</a:t>
            </a:r>
          </a:p>
          <a:p>
            <a:pPr marL="368300" indent="-228600">
              <a:buAutoNum type="arabicPeriod"/>
            </a:pPr>
            <a:endParaRPr lang="en-US" sz="1200" b="1"/>
          </a:p>
          <a:p>
            <a:pPr marL="368300" indent="-228600">
              <a:buClr>
                <a:srgbClr val="4E749C"/>
              </a:buClr>
              <a:buFont typeface="+mj-lt"/>
              <a:buAutoNum type="arabicPeriod"/>
            </a:pPr>
            <a:r>
              <a:rPr lang="en-US" sz="1200"/>
              <a:t>Use the ruler to measure from the bottom of the bottle to 5 cm. Mark this spot with a dot and draw a horizontal line across the bottle. </a:t>
            </a:r>
          </a:p>
          <a:p>
            <a:pPr marL="368300" indent="-228600">
              <a:buClr>
                <a:srgbClr val="4E749C"/>
              </a:buClr>
              <a:buFont typeface="+mj-lt"/>
              <a:buAutoNum type="arabicPeriod"/>
            </a:pPr>
            <a:r>
              <a:rPr lang="en-US" sz="1200"/>
              <a:t>Repeat this step at 10 cm, 15 cm and 20 cm, marking the positions on the bottle.</a:t>
            </a:r>
          </a:p>
          <a:p>
            <a:pPr marL="368300" indent="-228600">
              <a:buClr>
                <a:srgbClr val="4E749C"/>
              </a:buClr>
              <a:buFont typeface="+mj-lt"/>
              <a:buAutoNum type="arabicPeriod"/>
            </a:pPr>
            <a:r>
              <a:rPr lang="en-US" sz="1200"/>
              <a:t>Use the push pin to create a hole at the 5 cm mark and cover it with duct tape.</a:t>
            </a:r>
          </a:p>
          <a:p>
            <a:pPr marL="368300" indent="-228600">
              <a:buClr>
                <a:srgbClr val="4E749C"/>
              </a:buClr>
              <a:buFont typeface="+mj-lt"/>
              <a:buAutoNum type="arabicPeriod"/>
            </a:pPr>
            <a:r>
              <a:rPr lang="en-US" sz="1200"/>
              <a:t>Decide whether to leave the bottle cap on, loosen it, or remove it entirely during the experiment.</a:t>
            </a:r>
          </a:p>
          <a:p>
            <a:pPr marL="139700" indent="0"/>
            <a:endParaRPr lang="en-US" sz="1200"/>
          </a:p>
          <a:p>
            <a:pPr marL="139700" indent="0">
              <a:buNone/>
            </a:pPr>
            <a:r>
              <a:rPr lang="en-US" sz="1200" b="1"/>
              <a:t>Procedure</a:t>
            </a:r>
            <a:r>
              <a:rPr lang="en-US" sz="1200"/>
              <a:t>:</a:t>
            </a:r>
          </a:p>
          <a:p>
            <a:pPr marL="139700" indent="0"/>
            <a:endParaRPr lang="en-US" sz="1200"/>
          </a:p>
          <a:p>
            <a:pPr marL="368300" indent="-228600">
              <a:buClr>
                <a:srgbClr val="4E749C"/>
              </a:buClr>
              <a:buFont typeface="+mj-lt"/>
              <a:buAutoNum type="arabicPeriod"/>
            </a:pPr>
            <a:r>
              <a:rPr lang="en-US" sz="1200"/>
              <a:t>Fill the soda bottle with water up to the 20 cm mark.</a:t>
            </a:r>
          </a:p>
          <a:p>
            <a:pPr marL="368300" indent="-228600">
              <a:buClr>
                <a:srgbClr val="4E749C"/>
              </a:buClr>
              <a:buFont typeface="+mj-lt"/>
              <a:buAutoNum type="arabicPeriod"/>
            </a:pPr>
            <a:r>
              <a:rPr lang="en-US" sz="1200"/>
              <a:t>Place the bottle in a shallow tray or container with the hole pointing downward to catch the water.</a:t>
            </a:r>
          </a:p>
          <a:p>
            <a:pPr marL="368300" indent="-228600">
              <a:buClr>
                <a:srgbClr val="4E749C"/>
              </a:buClr>
              <a:buFont typeface="+mj-lt"/>
              <a:buAutoNum type="arabicPeriod"/>
            </a:pPr>
            <a:r>
              <a:rPr lang="en-US" sz="1200"/>
              <a:t>Remove the duct tape from the hole at 5 cm and let the water stream out.</a:t>
            </a:r>
          </a:p>
          <a:p>
            <a:pPr marL="368300" indent="-228600">
              <a:buClr>
                <a:srgbClr val="4E749C"/>
              </a:buClr>
              <a:buFont typeface="+mj-lt"/>
              <a:buAutoNum type="arabicPeriod"/>
            </a:pPr>
            <a:r>
              <a:rPr lang="en-US" sz="1200"/>
              <a:t>Measure the distance the water jet projects from the hole and record the result.</a:t>
            </a:r>
          </a:p>
          <a:p>
            <a:pPr marL="368300" indent="-228600">
              <a:buClr>
                <a:srgbClr val="4E749C"/>
              </a:buClr>
              <a:buFont typeface="+mj-lt"/>
              <a:buAutoNum type="arabicPeriod"/>
            </a:pPr>
            <a:r>
              <a:rPr lang="en-US" sz="1200"/>
              <a:t>Refill the bottle to the 15 cm mark. Remove the tape from the hole and measure the water jet distance again. Record the result.</a:t>
            </a:r>
          </a:p>
          <a:p>
            <a:pPr marL="368300" indent="-228600">
              <a:buClr>
                <a:srgbClr val="4E749C"/>
              </a:buClr>
              <a:buFont typeface="+mj-lt"/>
              <a:buAutoNum type="arabicPeriod"/>
            </a:pPr>
            <a:r>
              <a:rPr lang="en-US" sz="1200"/>
              <a:t>Refill the bottle to the 10 cm mark. Repeat the process of measuring and recording the water jet distance.</a:t>
            </a:r>
          </a:p>
          <a:p>
            <a:pPr marL="368300" indent="-228600">
              <a:buClr>
                <a:srgbClr val="4E749C"/>
              </a:buClr>
              <a:buFont typeface="+mj-lt"/>
              <a:buAutoNum type="arabicPeriod"/>
            </a:pPr>
            <a:r>
              <a:rPr lang="en-US" sz="1200"/>
              <a:t>Finally, refill the bottle to the 5 cm mark and repeat the measurement process.</a:t>
            </a:r>
          </a:p>
          <a:p>
            <a:pPr marL="368300" indent="-228600">
              <a:buClr>
                <a:srgbClr val="4E749C"/>
              </a:buClr>
              <a:buFont typeface="+mj-lt"/>
              <a:buAutoNum type="arabicPeriod"/>
            </a:pPr>
            <a:r>
              <a:rPr lang="en-US" sz="1200"/>
              <a:t>Repeat all measurements (steps 3–7) three times for accuracy and consistency.</a:t>
            </a:r>
          </a:p>
        </p:txBody>
      </p:sp>
      <p:sp>
        <p:nvSpPr>
          <p:cNvPr id="15" name="Foliennummernplatzhalter 14">
            <a:extLst>
              <a:ext uri="{FF2B5EF4-FFF2-40B4-BE49-F238E27FC236}">
                <a16:creationId xmlns:a16="http://schemas.microsoft.com/office/drawing/2014/main" id="{2FB22C80-DF93-38F6-1B60-09161CF9F2BC}"/>
              </a:ext>
            </a:extLst>
          </p:cNvPr>
          <p:cNvSpPr>
            <a:spLocks noGrp="1"/>
          </p:cNvSpPr>
          <p:nvPr>
            <p:ph type="sldNum" sz="quarter" idx="4"/>
          </p:nvPr>
        </p:nvSpPr>
        <p:spPr/>
        <p:txBody>
          <a:bodyPr/>
          <a:lstStyle/>
          <a:p>
            <a:fld id="{DF7F771E-9578-4C04-B869-01AF4C35C90C}" type="slidenum">
              <a:rPr lang="de-DE" smtClean="0"/>
              <a:t>52</a:t>
            </a:fld>
            <a:endParaRPr lang="de-DE"/>
          </a:p>
        </p:txBody>
      </p:sp>
      <p:sp>
        <p:nvSpPr>
          <p:cNvPr id="4" name="TextBox 3">
            <a:extLst>
              <a:ext uri="{FF2B5EF4-FFF2-40B4-BE49-F238E27FC236}">
                <a16:creationId xmlns:a16="http://schemas.microsoft.com/office/drawing/2014/main" id="{105D9733-E7F4-5BC4-5331-CEF3628FCBA0}"/>
              </a:ext>
            </a:extLst>
          </p:cNvPr>
          <p:cNvSpPr txBox="1"/>
          <p:nvPr/>
        </p:nvSpPr>
        <p:spPr>
          <a:xfrm>
            <a:off x="1894609" y="4616478"/>
            <a:ext cx="3789218" cy="307777"/>
          </a:xfrm>
          <a:prstGeom prst="rect">
            <a:avLst/>
          </a:prstGeom>
          <a:noFill/>
        </p:spPr>
        <p:txBody>
          <a:bodyPr wrap="square">
            <a:spAutoFit/>
          </a:bodyPr>
          <a:lstStyle/>
          <a:p>
            <a:r>
              <a:rPr lang="en-US" b="0" i="0">
                <a:solidFill>
                  <a:srgbClr val="000000"/>
                </a:solidFill>
                <a:effectLst/>
                <a:latin typeface="Times"/>
              </a:rPr>
              <a:t> </a:t>
            </a:r>
            <a:endParaRPr lang="en-US"/>
          </a:p>
        </p:txBody>
      </p:sp>
      <p:sp>
        <p:nvSpPr>
          <p:cNvPr id="10" name="Rechteck 1">
            <a:extLst>
              <a:ext uri="{FF2B5EF4-FFF2-40B4-BE49-F238E27FC236}">
                <a16:creationId xmlns:a16="http://schemas.microsoft.com/office/drawing/2014/main" id="{641FD9DD-A1E0-8288-4535-8FA5EB3C94A7}"/>
              </a:ext>
            </a:extLst>
          </p:cNvPr>
          <p:cNvSpPr/>
          <p:nvPr/>
        </p:nvSpPr>
        <p:spPr>
          <a:xfrm>
            <a:off x="959816" y="3211950"/>
            <a:ext cx="5919009" cy="1712009"/>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i="0">
                <a:solidFill>
                  <a:srgbClr val="000000"/>
                </a:solidFill>
                <a:effectLst/>
                <a:latin typeface="Times"/>
              </a:rPr>
              <a:t> </a:t>
            </a:r>
            <a:endParaRPr lang="de-DE"/>
          </a:p>
        </p:txBody>
      </p:sp>
      <p:sp>
        <p:nvSpPr>
          <p:cNvPr id="11" name="TextBox 10">
            <a:extLst>
              <a:ext uri="{FF2B5EF4-FFF2-40B4-BE49-F238E27FC236}">
                <a16:creationId xmlns:a16="http://schemas.microsoft.com/office/drawing/2014/main" id="{8415BFAD-B15C-F51F-CA67-0EDFB692C2D7}"/>
              </a:ext>
            </a:extLst>
          </p:cNvPr>
          <p:cNvSpPr txBox="1"/>
          <p:nvPr/>
        </p:nvSpPr>
        <p:spPr>
          <a:xfrm>
            <a:off x="1307738" y="3338534"/>
            <a:ext cx="5223164" cy="323165"/>
          </a:xfrm>
          <a:prstGeom prst="rect">
            <a:avLst/>
          </a:prstGeom>
          <a:noFill/>
        </p:spPr>
        <p:txBody>
          <a:bodyPr wrap="square" rtlCol="0">
            <a:spAutoFit/>
          </a:bodyPr>
          <a:lstStyle/>
          <a:p>
            <a:r>
              <a:rPr lang="en-US" sz="1500" b="1">
                <a:latin typeface="Epilogue" panose="020B0604020202020204" charset="0"/>
                <a:cs typeface="Epilogue" panose="020B0604020202020204" charset="0"/>
              </a:rPr>
              <a:t> </a:t>
            </a:r>
            <a:r>
              <a:rPr lang="en-GB" sz="1500" b="1">
                <a:latin typeface="Epilogue" panose="020B0604020202020204" charset="0"/>
                <a:cs typeface="Epilogue" panose="020B0604020202020204" charset="0"/>
              </a:rPr>
              <a:t>Material you will need for the experiment</a:t>
            </a:r>
          </a:p>
        </p:txBody>
      </p:sp>
      <p:sp>
        <p:nvSpPr>
          <p:cNvPr id="12" name="TextBox 11">
            <a:extLst>
              <a:ext uri="{FF2B5EF4-FFF2-40B4-BE49-F238E27FC236}">
                <a16:creationId xmlns:a16="http://schemas.microsoft.com/office/drawing/2014/main" id="{8DA7974C-D514-6886-DEB3-7EB05B06E4B5}"/>
              </a:ext>
            </a:extLst>
          </p:cNvPr>
          <p:cNvSpPr txBox="1"/>
          <p:nvPr/>
        </p:nvSpPr>
        <p:spPr>
          <a:xfrm>
            <a:off x="1307738" y="3717278"/>
            <a:ext cx="2315269" cy="982641"/>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1 empty 2-liter soda bottle</a:t>
            </a:r>
          </a:p>
          <a:p>
            <a:pPr marL="285750" indent="-285750">
              <a:buFont typeface="Arial" panose="020B0604020202020204" pitchFamily="34" charset="0"/>
              <a:buChar char="•"/>
            </a:pPr>
            <a:r>
              <a:rPr lang="en-US" sz="1157">
                <a:solidFill>
                  <a:schemeClr val="dk1"/>
                </a:solidFill>
                <a:latin typeface="Sofia Sans"/>
                <a:sym typeface="Sofia Sans"/>
              </a:rPr>
              <a:t>1 ruler</a:t>
            </a:r>
          </a:p>
          <a:p>
            <a:pPr marL="285750" indent="-285750">
              <a:buFont typeface="Arial" panose="020B0604020202020204" pitchFamily="34" charset="0"/>
              <a:buChar char="•"/>
            </a:pPr>
            <a:r>
              <a:rPr lang="en-US" sz="1157">
                <a:solidFill>
                  <a:schemeClr val="dk1"/>
                </a:solidFill>
                <a:latin typeface="Sofia Sans"/>
                <a:sym typeface="Sofia Sans"/>
              </a:rPr>
              <a:t>1 push pin</a:t>
            </a:r>
          </a:p>
          <a:p>
            <a:pPr marL="285750" indent="-285750">
              <a:buFont typeface="Arial" panose="020B0604020202020204" pitchFamily="34" charset="0"/>
              <a:buChar char="•"/>
            </a:pPr>
            <a:r>
              <a:rPr lang="en-US" sz="1157">
                <a:solidFill>
                  <a:schemeClr val="dk1"/>
                </a:solidFill>
                <a:latin typeface="Sofia Sans"/>
                <a:sym typeface="Sofia Sans"/>
              </a:rPr>
              <a:t>1 shallow tray or container to catch water</a:t>
            </a:r>
          </a:p>
        </p:txBody>
      </p:sp>
      <p:grpSp>
        <p:nvGrpSpPr>
          <p:cNvPr id="14" name="Gruppieren 14">
            <a:extLst>
              <a:ext uri="{FF2B5EF4-FFF2-40B4-BE49-F238E27FC236}">
                <a16:creationId xmlns:a16="http://schemas.microsoft.com/office/drawing/2014/main" id="{5FE8893E-E9DF-217E-194C-3C187BE6EF7C}"/>
              </a:ext>
            </a:extLst>
          </p:cNvPr>
          <p:cNvGrpSpPr/>
          <p:nvPr/>
        </p:nvGrpSpPr>
        <p:grpSpPr>
          <a:xfrm>
            <a:off x="6400805" y="2918900"/>
            <a:ext cx="612000" cy="545182"/>
            <a:chOff x="6140368" y="3097012"/>
            <a:chExt cx="631497" cy="631501"/>
          </a:xfrm>
        </p:grpSpPr>
        <p:sp>
          <p:nvSpPr>
            <p:cNvPr id="16" name="Ellipse 12">
              <a:extLst>
                <a:ext uri="{FF2B5EF4-FFF2-40B4-BE49-F238E27FC236}">
                  <a16:creationId xmlns:a16="http://schemas.microsoft.com/office/drawing/2014/main" id="{FF270011-F541-FAA8-92AD-9C656A97848F}"/>
                </a:ext>
              </a:extLst>
            </p:cNvPr>
            <p:cNvSpPr>
              <a:spLocks noChangeAspect="1"/>
            </p:cNvSpPr>
            <p:nvPr/>
          </p:nvSpPr>
          <p:spPr>
            <a:xfrm>
              <a:off x="6140368" y="3097012"/>
              <a:ext cx="631497" cy="631501"/>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3" descr="Inventar mit einfarbiger Füllung">
              <a:extLst>
                <a:ext uri="{FF2B5EF4-FFF2-40B4-BE49-F238E27FC236}">
                  <a16:creationId xmlns:a16="http://schemas.microsoft.com/office/drawing/2014/main" id="{09B7D022-69DB-D03B-966E-29FFD74FCA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41840" y="3198483"/>
              <a:ext cx="457200" cy="457200"/>
            </a:xfrm>
            <a:prstGeom prst="rect">
              <a:avLst/>
            </a:prstGeom>
          </p:spPr>
        </p:pic>
      </p:grpSp>
      <p:sp>
        <p:nvSpPr>
          <p:cNvPr id="19" name="TextBox 18">
            <a:extLst>
              <a:ext uri="{FF2B5EF4-FFF2-40B4-BE49-F238E27FC236}">
                <a16:creationId xmlns:a16="http://schemas.microsoft.com/office/drawing/2014/main" id="{0B40CE02-3A1E-A5BA-7782-39E4277FB2C0}"/>
              </a:ext>
            </a:extLst>
          </p:cNvPr>
          <p:cNvSpPr txBox="1"/>
          <p:nvPr/>
        </p:nvSpPr>
        <p:spPr>
          <a:xfrm>
            <a:off x="719138" y="1288995"/>
            <a:ext cx="5906136" cy="954107"/>
          </a:xfrm>
          <a:prstGeom prst="rect">
            <a:avLst/>
          </a:prstGeom>
          <a:noFill/>
        </p:spPr>
        <p:txBody>
          <a:bodyPr wrap="square">
            <a:spAutoFit/>
          </a:bodyPr>
          <a:lstStyle/>
          <a:p>
            <a:r>
              <a:rPr lang="en-US" sz="2800" b="1">
                <a:latin typeface="Epilogue" panose="020B0604020202020204" charset="0"/>
                <a:cs typeface="Epilogue" panose="020B0604020202020204" charset="0"/>
              </a:rPr>
              <a:t>1. Effect of volume on the force of water</a:t>
            </a:r>
          </a:p>
        </p:txBody>
      </p:sp>
      <p:sp>
        <p:nvSpPr>
          <p:cNvPr id="21" name="TextBox 20">
            <a:extLst>
              <a:ext uri="{FF2B5EF4-FFF2-40B4-BE49-F238E27FC236}">
                <a16:creationId xmlns:a16="http://schemas.microsoft.com/office/drawing/2014/main" id="{33C047C7-DA27-7105-E1D8-625AFF0E26F3}"/>
              </a:ext>
            </a:extLst>
          </p:cNvPr>
          <p:cNvSpPr txBox="1"/>
          <p:nvPr/>
        </p:nvSpPr>
        <p:spPr>
          <a:xfrm>
            <a:off x="1278728" y="2488521"/>
            <a:ext cx="3789946" cy="323165"/>
          </a:xfrm>
          <a:prstGeom prst="rect">
            <a:avLst/>
          </a:prstGeom>
          <a:noFill/>
        </p:spPr>
        <p:txBody>
          <a:bodyPr wrap="square">
            <a:spAutoFit/>
          </a:bodyPr>
          <a:lstStyle/>
          <a:p>
            <a:r>
              <a:rPr lang="en-US" sz="1500" b="1" i="0">
                <a:solidFill>
                  <a:srgbClr val="4E749C"/>
                </a:solidFill>
                <a:effectLst/>
                <a:latin typeface="Epilogue" panose="020B0604020202020204" charset="0"/>
                <a:cs typeface="Epilogue" panose="020B0604020202020204" charset="0"/>
              </a:rPr>
              <a:t>Experiment</a:t>
            </a:r>
            <a:r>
              <a:rPr lang="en-US" sz="1500" b="0" i="0">
                <a:solidFill>
                  <a:srgbClr val="4E749C"/>
                </a:solidFill>
                <a:effectLst/>
                <a:latin typeface="Epilogue" panose="020B0604020202020204" charset="0"/>
                <a:cs typeface="Epilogue" panose="020B0604020202020204" charset="0"/>
              </a:rPr>
              <a:t> </a:t>
            </a:r>
            <a:endParaRPr lang="en-US" sz="1500">
              <a:solidFill>
                <a:srgbClr val="4E749C"/>
              </a:solidFill>
              <a:latin typeface="Epilogue" panose="020B0604020202020204" charset="0"/>
              <a:cs typeface="Epilogue" panose="020B0604020202020204" charset="0"/>
            </a:endParaRPr>
          </a:p>
        </p:txBody>
      </p:sp>
      <p:sp>
        <p:nvSpPr>
          <p:cNvPr id="2" name="Ellipse 7">
            <a:extLst>
              <a:ext uri="{FF2B5EF4-FFF2-40B4-BE49-F238E27FC236}">
                <a16:creationId xmlns:a16="http://schemas.microsoft.com/office/drawing/2014/main" id="{F4D1114C-145A-F863-3490-C1389A9947D2}"/>
              </a:ext>
            </a:extLst>
          </p:cNvPr>
          <p:cNvSpPr>
            <a:spLocks noChangeAspect="1"/>
          </p:cNvSpPr>
          <p:nvPr/>
        </p:nvSpPr>
        <p:spPr>
          <a:xfrm>
            <a:off x="730528" y="2406447"/>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30" descr="Lupe mit einfarbiger Füllung">
            <a:extLst>
              <a:ext uri="{FF2B5EF4-FFF2-40B4-BE49-F238E27FC236}">
                <a16:creationId xmlns:a16="http://schemas.microsoft.com/office/drawing/2014/main" id="{EF52FF68-6664-AB23-5EFC-908756C87F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601" y="2470127"/>
            <a:ext cx="333865" cy="333865"/>
          </a:xfrm>
          <a:prstGeom prst="rect">
            <a:avLst/>
          </a:prstGeom>
        </p:spPr>
      </p:pic>
      <p:sp>
        <p:nvSpPr>
          <p:cNvPr id="7" name="TextBox 11">
            <a:extLst>
              <a:ext uri="{FF2B5EF4-FFF2-40B4-BE49-F238E27FC236}">
                <a16:creationId xmlns:a16="http://schemas.microsoft.com/office/drawing/2014/main" id="{29DFA131-F8AB-4051-0DC8-5D64572FF2CA}"/>
              </a:ext>
            </a:extLst>
          </p:cNvPr>
          <p:cNvSpPr txBox="1"/>
          <p:nvPr/>
        </p:nvSpPr>
        <p:spPr>
          <a:xfrm>
            <a:off x="4093281" y="3717278"/>
            <a:ext cx="2315269" cy="804579"/>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Towel or paper towels</a:t>
            </a:r>
          </a:p>
          <a:p>
            <a:pPr marL="285750" indent="-285750">
              <a:buFont typeface="Arial" panose="020B0604020202020204" pitchFamily="34" charset="0"/>
              <a:buChar char="•"/>
            </a:pPr>
            <a:r>
              <a:rPr lang="en-US" sz="1157">
                <a:solidFill>
                  <a:schemeClr val="dk1"/>
                </a:solidFill>
                <a:latin typeface="Sofia Sans"/>
                <a:sym typeface="Sofia Sans"/>
              </a:rPr>
              <a:t>Permanent marker</a:t>
            </a:r>
          </a:p>
          <a:p>
            <a:pPr marL="285750" indent="-285750">
              <a:buFont typeface="Arial" panose="020B0604020202020204" pitchFamily="34" charset="0"/>
              <a:buChar char="•"/>
            </a:pPr>
            <a:r>
              <a:rPr lang="en-US" sz="1157">
                <a:solidFill>
                  <a:schemeClr val="dk1"/>
                </a:solidFill>
                <a:latin typeface="Sofia Sans"/>
                <a:sym typeface="Sofia Sans"/>
              </a:rPr>
              <a:t>Water supply</a:t>
            </a:r>
          </a:p>
          <a:p>
            <a:pPr marL="285750" indent="-285750">
              <a:buFont typeface="Arial" panose="020B0604020202020204" pitchFamily="34" charset="0"/>
              <a:buChar char="•"/>
            </a:pPr>
            <a:r>
              <a:rPr lang="en-US" sz="1157">
                <a:solidFill>
                  <a:schemeClr val="dk1"/>
                </a:solidFill>
                <a:latin typeface="Sofia Sans"/>
                <a:sym typeface="Sofia Sans"/>
              </a:rPr>
              <a:t>Duct tape </a:t>
            </a:r>
          </a:p>
        </p:txBody>
      </p:sp>
    </p:spTree>
    <p:extLst>
      <p:ext uri="{BB962C8B-B14F-4D97-AF65-F5344CB8AC3E}">
        <p14:creationId xmlns:p14="http://schemas.microsoft.com/office/powerpoint/2010/main" val="9585152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76FAC-E169-03FA-D381-66D645504934}"/>
            </a:ext>
          </a:extLst>
        </p:cNvPr>
        <p:cNvGrpSpPr/>
        <p:nvPr/>
      </p:nvGrpSpPr>
      <p:grpSpPr>
        <a:xfrm>
          <a:off x="0" y="0"/>
          <a:ext cx="0" cy="0"/>
          <a:chOff x="0" y="0"/>
          <a:chExt cx="0" cy="0"/>
        </a:xfrm>
      </p:grpSpPr>
      <p:sp>
        <p:nvSpPr>
          <p:cNvPr id="7" name="Untertitel 2">
            <a:extLst>
              <a:ext uri="{FF2B5EF4-FFF2-40B4-BE49-F238E27FC236}">
                <a16:creationId xmlns:a16="http://schemas.microsoft.com/office/drawing/2014/main" id="{64F203A3-4497-BE2D-4D56-409A376844B8}"/>
              </a:ext>
            </a:extLst>
          </p:cNvPr>
          <p:cNvSpPr>
            <a:spLocks noGrp="1"/>
          </p:cNvSpPr>
          <p:nvPr>
            <p:ph type="subTitle" idx="1"/>
          </p:nvPr>
        </p:nvSpPr>
        <p:spPr>
          <a:xfrm>
            <a:off x="719141" y="6479897"/>
            <a:ext cx="5594110" cy="1173048"/>
          </a:xfrm>
        </p:spPr>
        <p:txBody>
          <a:bodyPr/>
          <a:lstStyle/>
          <a:p>
            <a:r>
              <a:rPr lang="en-US" sz="1200"/>
              <a:t>Discuss with a partner:</a:t>
            </a:r>
          </a:p>
          <a:p>
            <a:endParaRPr lang="en-US" sz="1200"/>
          </a:p>
          <a:p>
            <a:pPr>
              <a:buClr>
                <a:schemeClr val="accent5"/>
              </a:buClr>
              <a:buSzPct val="121000"/>
              <a:buFont typeface="+mj-lt"/>
              <a:buAutoNum type="arabicPeriod"/>
            </a:pPr>
            <a:r>
              <a:rPr lang="en-US" sz="1200"/>
              <a:t>How does the water level affect the distance the jet travels?</a:t>
            </a:r>
          </a:p>
          <a:p>
            <a:pPr>
              <a:buClr>
                <a:schemeClr val="accent5"/>
              </a:buClr>
              <a:buSzPct val="121000"/>
              <a:buFont typeface="+mj-lt"/>
              <a:buAutoNum type="arabicPeriod"/>
            </a:pPr>
            <a:r>
              <a:rPr lang="en-US" sz="1200"/>
              <a:t>Can you think of a real-life situation where this principle might apply? Write down two examples</a:t>
            </a:r>
          </a:p>
          <a:p>
            <a:pPr marL="285750" lvl="2" indent="-285750">
              <a:buFont typeface="Arial" panose="020B0604020202020204" pitchFamily="34" charset="0"/>
              <a:buChar char="•"/>
            </a:pPr>
            <a:endParaRPr lang="en-US" sz="1200"/>
          </a:p>
          <a:p>
            <a:pPr lvl="2"/>
            <a:endParaRPr lang="en-US" sz="1200"/>
          </a:p>
          <a:p>
            <a:pPr marL="285750" lvl="2" indent="-285750">
              <a:buFont typeface="Arial" panose="020B0604020202020204" pitchFamily="34" charset="0"/>
              <a:buChar char="•"/>
            </a:pPr>
            <a:endParaRPr lang="en-US" sz="1200"/>
          </a:p>
        </p:txBody>
      </p:sp>
      <p:sp>
        <p:nvSpPr>
          <p:cNvPr id="15" name="Foliennummernplatzhalter 14">
            <a:extLst>
              <a:ext uri="{FF2B5EF4-FFF2-40B4-BE49-F238E27FC236}">
                <a16:creationId xmlns:a16="http://schemas.microsoft.com/office/drawing/2014/main" id="{A851F2B2-4EBA-C652-A061-9F41F8B6226F}"/>
              </a:ext>
            </a:extLst>
          </p:cNvPr>
          <p:cNvSpPr>
            <a:spLocks noGrp="1"/>
          </p:cNvSpPr>
          <p:nvPr>
            <p:ph type="sldNum" sz="quarter" idx="10"/>
          </p:nvPr>
        </p:nvSpPr>
        <p:spPr/>
        <p:txBody>
          <a:bodyPr/>
          <a:lstStyle/>
          <a:p>
            <a:fld id="{DF7F771E-9578-4C04-B869-01AF4C35C90C}" type="slidenum">
              <a:rPr lang="de-DE" smtClean="0"/>
              <a:t>53</a:t>
            </a:fld>
            <a:endParaRPr lang="de-DE"/>
          </a:p>
        </p:txBody>
      </p:sp>
      <p:graphicFrame>
        <p:nvGraphicFramePr>
          <p:cNvPr id="5" name="Google Shape;630;p38">
            <a:extLst>
              <a:ext uri="{FF2B5EF4-FFF2-40B4-BE49-F238E27FC236}">
                <a16:creationId xmlns:a16="http://schemas.microsoft.com/office/drawing/2014/main" id="{B1CCD602-953D-9D31-755B-80518D5F9AC3}"/>
              </a:ext>
            </a:extLst>
          </p:cNvPr>
          <p:cNvGraphicFramePr/>
          <p:nvPr>
            <p:extLst>
              <p:ext uri="{D42A27DB-BD31-4B8C-83A1-F6EECF244321}">
                <p14:modId xmlns:p14="http://schemas.microsoft.com/office/powerpoint/2010/main" val="621734797"/>
              </p:ext>
            </p:extLst>
          </p:nvPr>
        </p:nvGraphicFramePr>
        <p:xfrm>
          <a:off x="820333" y="4343678"/>
          <a:ext cx="5919008" cy="1686768"/>
        </p:xfrm>
        <a:graphic>
          <a:graphicData uri="http://schemas.openxmlformats.org/drawingml/2006/table">
            <a:tbl>
              <a:tblPr>
                <a:noFill/>
                <a:tableStyleId>{F0CFADBD-3245-443C-9B6D-9ACBA4CA32A5}</a:tableStyleId>
              </a:tblPr>
              <a:tblGrid>
                <a:gridCol w="1013188">
                  <a:extLst>
                    <a:ext uri="{9D8B030D-6E8A-4147-A177-3AD203B41FA5}">
                      <a16:colId xmlns:a16="http://schemas.microsoft.com/office/drawing/2014/main" val="20000"/>
                    </a:ext>
                  </a:extLst>
                </a:gridCol>
                <a:gridCol w="1226455">
                  <a:extLst>
                    <a:ext uri="{9D8B030D-6E8A-4147-A177-3AD203B41FA5}">
                      <a16:colId xmlns:a16="http://schemas.microsoft.com/office/drawing/2014/main" val="20001"/>
                    </a:ext>
                  </a:extLst>
                </a:gridCol>
                <a:gridCol w="1226455">
                  <a:extLst>
                    <a:ext uri="{9D8B030D-6E8A-4147-A177-3AD203B41FA5}">
                      <a16:colId xmlns:a16="http://schemas.microsoft.com/office/drawing/2014/main" val="20002"/>
                    </a:ext>
                  </a:extLst>
                </a:gridCol>
                <a:gridCol w="1226455">
                  <a:extLst>
                    <a:ext uri="{9D8B030D-6E8A-4147-A177-3AD203B41FA5}">
                      <a16:colId xmlns:a16="http://schemas.microsoft.com/office/drawing/2014/main" val="1787064771"/>
                    </a:ext>
                  </a:extLst>
                </a:gridCol>
                <a:gridCol w="1226455">
                  <a:extLst>
                    <a:ext uri="{9D8B030D-6E8A-4147-A177-3AD203B41FA5}">
                      <a16:colId xmlns:a16="http://schemas.microsoft.com/office/drawing/2014/main" val="3646388110"/>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Volumen</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Trial 1</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Trial 2</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ES" sz="1000" b="1">
                          <a:solidFill>
                            <a:schemeClr val="dk1"/>
                          </a:solidFill>
                          <a:latin typeface="Epilogue"/>
                          <a:ea typeface="Epilogue"/>
                          <a:cs typeface="Epilogue"/>
                          <a:sym typeface="Epilogue"/>
                        </a:rPr>
                        <a:t>Trial 3</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ES" sz="1000" b="1" err="1">
                          <a:solidFill>
                            <a:schemeClr val="dk1"/>
                          </a:solidFill>
                          <a:latin typeface="Epilogue"/>
                          <a:ea typeface="Epilogue"/>
                          <a:cs typeface="Epilogue"/>
                          <a:sym typeface="Epilogue"/>
                        </a:rPr>
                        <a:t>Average</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5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0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5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7029317"/>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20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19875858"/>
                  </a:ext>
                </a:extLst>
              </a:tr>
            </a:tbl>
          </a:graphicData>
        </a:graphic>
      </p:graphicFrame>
      <p:grpSp>
        <p:nvGrpSpPr>
          <p:cNvPr id="16" name="Gruppieren 15">
            <a:extLst>
              <a:ext uri="{FF2B5EF4-FFF2-40B4-BE49-F238E27FC236}">
                <a16:creationId xmlns:a16="http://schemas.microsoft.com/office/drawing/2014/main" id="{8618FAB3-6418-A23D-951E-CCE056EAF1DD}"/>
              </a:ext>
            </a:extLst>
          </p:cNvPr>
          <p:cNvGrpSpPr/>
          <p:nvPr/>
        </p:nvGrpSpPr>
        <p:grpSpPr>
          <a:xfrm>
            <a:off x="2039514" y="1131498"/>
            <a:ext cx="2717309" cy="2927257"/>
            <a:chOff x="2097881" y="1109722"/>
            <a:chExt cx="2694254" cy="3326260"/>
          </a:xfrm>
        </p:grpSpPr>
        <p:pic>
          <p:nvPicPr>
            <p:cNvPr id="20" name="Picture 19" descr="A drawing of a bottle&#10;&#10;Description automatically generated">
              <a:extLst>
                <a:ext uri="{FF2B5EF4-FFF2-40B4-BE49-F238E27FC236}">
                  <a16:creationId xmlns:a16="http://schemas.microsoft.com/office/drawing/2014/main" id="{0BC05212-07AF-7873-7343-D40B6F3BEA6B}"/>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1426" b="94043" l="38965" r="66504">
                          <a14:foregroundMark x1="46387" y1="91113" x2="49805" y2="27344"/>
                          <a14:foregroundMark x1="58496" y1="33691" x2="62109" y2="82227"/>
                          <a14:foregroundMark x1="62109" y1="82227" x2="58887" y2="90039"/>
                          <a14:foregroundMark x1="58887" y1="90039" x2="51758" y2="92480"/>
                          <a14:foregroundMark x1="51758" y1="92480" x2="49805" y2="92480"/>
                          <a14:foregroundMark x1="50195" y1="11523" x2="54297" y2="11914"/>
                          <a14:foregroundMark x1="46094" y1="94043" x2="46094" y2="94043"/>
                          <a14:foregroundMark x1="57813" y1="93359" x2="57813" y2="93359"/>
                          <a14:foregroundMark x1="59766" y1="92773" x2="59766" y2="92773"/>
                          <a14:foregroundMark x1="63477" y1="92773" x2="65137" y2="74121"/>
                          <a14:foregroundMark x1="66211" y1="79297" x2="66211" y2="79297"/>
                          <a14:foregroundMark x1="66406" y1="79004" x2="66504" y2="78125"/>
                        </a14:backgroundRemoval>
                      </a14:imgEffect>
                    </a14:imgLayer>
                  </a14:imgProps>
                </a:ext>
              </a:extLst>
            </a:blip>
            <a:srcRect l="35724" t="2491" r="30942" b="2713"/>
            <a:stretch/>
          </p:blipFill>
          <p:spPr>
            <a:xfrm>
              <a:off x="3195028" y="1109722"/>
              <a:ext cx="1169620" cy="3326260"/>
            </a:xfrm>
            <a:prstGeom prst="rect">
              <a:avLst/>
            </a:prstGeom>
          </p:spPr>
        </p:pic>
        <p:cxnSp>
          <p:nvCxnSpPr>
            <p:cNvPr id="23" name="Straight Connector 22">
              <a:extLst>
                <a:ext uri="{FF2B5EF4-FFF2-40B4-BE49-F238E27FC236}">
                  <a16:creationId xmlns:a16="http://schemas.microsoft.com/office/drawing/2014/main" id="{88C2D13B-1FA4-D715-BA4F-9A188A5DBDFA}"/>
                </a:ext>
              </a:extLst>
            </p:cNvPr>
            <p:cNvCxnSpPr/>
            <p:nvPr/>
          </p:nvCxnSpPr>
          <p:spPr>
            <a:xfrm>
              <a:off x="2840568" y="3788152"/>
              <a:ext cx="19515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B1F166-AAB1-103E-8F80-B101111CE355}"/>
                </a:ext>
              </a:extLst>
            </p:cNvPr>
            <p:cNvCxnSpPr/>
            <p:nvPr/>
          </p:nvCxnSpPr>
          <p:spPr>
            <a:xfrm>
              <a:off x="2840568" y="3347885"/>
              <a:ext cx="19515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669DF20-04D6-E443-8180-405B7032CA0F}"/>
                </a:ext>
              </a:extLst>
            </p:cNvPr>
            <p:cNvCxnSpPr/>
            <p:nvPr/>
          </p:nvCxnSpPr>
          <p:spPr>
            <a:xfrm>
              <a:off x="2840567" y="2916085"/>
              <a:ext cx="19515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65ABD8-8CBB-4B66-3070-05E01B135CD7}"/>
                </a:ext>
              </a:extLst>
            </p:cNvPr>
            <p:cNvCxnSpPr/>
            <p:nvPr/>
          </p:nvCxnSpPr>
          <p:spPr>
            <a:xfrm>
              <a:off x="2840567" y="2429252"/>
              <a:ext cx="1951567"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A131BAF-6BCA-A2E2-E405-85B4E3F21E22}"/>
                </a:ext>
              </a:extLst>
            </p:cNvPr>
            <p:cNvSpPr/>
            <p:nvPr/>
          </p:nvSpPr>
          <p:spPr>
            <a:xfrm>
              <a:off x="3745971" y="2393269"/>
              <a:ext cx="67733" cy="635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6979A968-E43B-17DF-ED3A-04F2D5CF3F42}"/>
                </a:ext>
              </a:extLst>
            </p:cNvPr>
            <p:cNvSpPr/>
            <p:nvPr/>
          </p:nvSpPr>
          <p:spPr>
            <a:xfrm>
              <a:off x="3745970" y="2888568"/>
              <a:ext cx="67733" cy="635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F6C1CB47-0DCC-E020-1605-38B5EF0D7FFF}"/>
                </a:ext>
              </a:extLst>
            </p:cNvPr>
            <p:cNvSpPr/>
            <p:nvPr/>
          </p:nvSpPr>
          <p:spPr>
            <a:xfrm>
              <a:off x="3747427" y="3307398"/>
              <a:ext cx="67733" cy="635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F5241EE-3DA4-1FE5-18A7-B2290F46B0B8}"/>
                </a:ext>
              </a:extLst>
            </p:cNvPr>
            <p:cNvSpPr/>
            <p:nvPr/>
          </p:nvSpPr>
          <p:spPr>
            <a:xfrm>
              <a:off x="3745970" y="3765140"/>
              <a:ext cx="67733" cy="635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FA3C7CD6-E266-A9D0-5A0A-E667DD33C5E0}"/>
                </a:ext>
              </a:extLst>
            </p:cNvPr>
            <p:cNvSpPr txBox="1"/>
            <p:nvPr/>
          </p:nvSpPr>
          <p:spPr>
            <a:xfrm>
              <a:off x="2244192" y="3620647"/>
              <a:ext cx="596375" cy="332014"/>
            </a:xfrm>
            <a:prstGeom prst="rect">
              <a:avLst/>
            </a:prstGeom>
            <a:noFill/>
          </p:spPr>
          <p:txBody>
            <a:bodyPr wrap="square">
              <a:spAutoFit/>
            </a:bodyPr>
            <a:lstStyle/>
            <a:p>
              <a:pPr marL="0" lvl="0" indent="0" algn="ctr" rtl="0">
                <a:lnSpc>
                  <a:spcPct val="115000"/>
                </a:lnSpc>
                <a:spcBef>
                  <a:spcPts val="0"/>
                </a:spcBef>
                <a:spcAft>
                  <a:spcPts val="0"/>
                </a:spcAft>
                <a:buNone/>
              </a:pPr>
              <a:r>
                <a:rPr lang="de-DE" sz="1400" b="1">
                  <a:solidFill>
                    <a:schemeClr val="dk1"/>
                  </a:solidFill>
                  <a:latin typeface="Sofia Sans"/>
                  <a:ea typeface="Sofia Sans"/>
                  <a:cs typeface="Sofia Sans"/>
                  <a:sym typeface="Sofia Sans"/>
                </a:rPr>
                <a:t>5 CM</a:t>
              </a:r>
            </a:p>
          </p:txBody>
        </p:sp>
        <p:sp>
          <p:nvSpPr>
            <p:cNvPr id="33" name="TextBox 32">
              <a:extLst>
                <a:ext uri="{FF2B5EF4-FFF2-40B4-BE49-F238E27FC236}">
                  <a16:creationId xmlns:a16="http://schemas.microsoft.com/office/drawing/2014/main" id="{B2349F28-8959-14A3-BC92-C6BD76E08B0D}"/>
                </a:ext>
              </a:extLst>
            </p:cNvPr>
            <p:cNvSpPr txBox="1"/>
            <p:nvPr/>
          </p:nvSpPr>
          <p:spPr>
            <a:xfrm>
              <a:off x="2099737" y="3186112"/>
              <a:ext cx="819092" cy="332014"/>
            </a:xfrm>
            <a:prstGeom prst="rect">
              <a:avLst/>
            </a:prstGeom>
            <a:noFill/>
          </p:spPr>
          <p:txBody>
            <a:bodyPr wrap="square">
              <a:spAutoFit/>
            </a:bodyPr>
            <a:lstStyle/>
            <a:p>
              <a:pPr marL="0" lvl="0" indent="0" algn="ctr" rtl="0">
                <a:lnSpc>
                  <a:spcPct val="115000"/>
                </a:lnSpc>
                <a:spcBef>
                  <a:spcPts val="0"/>
                </a:spcBef>
                <a:spcAft>
                  <a:spcPts val="0"/>
                </a:spcAft>
                <a:buNone/>
              </a:pPr>
              <a:r>
                <a:rPr lang="de-DE" sz="1400" b="1">
                  <a:solidFill>
                    <a:schemeClr val="dk1"/>
                  </a:solidFill>
                  <a:latin typeface="Sofia Sans"/>
                  <a:ea typeface="Sofia Sans"/>
                  <a:cs typeface="Sofia Sans"/>
                  <a:sym typeface="Sofia Sans"/>
                </a:rPr>
                <a:t>10 CM</a:t>
              </a:r>
            </a:p>
          </p:txBody>
        </p:sp>
        <p:sp>
          <p:nvSpPr>
            <p:cNvPr id="34" name="TextBox 33">
              <a:extLst>
                <a:ext uri="{FF2B5EF4-FFF2-40B4-BE49-F238E27FC236}">
                  <a16:creationId xmlns:a16="http://schemas.microsoft.com/office/drawing/2014/main" id="{C51AA38F-284D-4D6F-74E5-275E3476D81D}"/>
                </a:ext>
              </a:extLst>
            </p:cNvPr>
            <p:cNvSpPr txBox="1"/>
            <p:nvPr/>
          </p:nvSpPr>
          <p:spPr>
            <a:xfrm>
              <a:off x="2097881" y="2756833"/>
              <a:ext cx="819092" cy="332014"/>
            </a:xfrm>
            <a:prstGeom prst="rect">
              <a:avLst/>
            </a:prstGeom>
            <a:noFill/>
          </p:spPr>
          <p:txBody>
            <a:bodyPr wrap="square">
              <a:spAutoFit/>
            </a:bodyPr>
            <a:lstStyle/>
            <a:p>
              <a:pPr marL="0" lvl="0" indent="0" algn="ctr" rtl="0">
                <a:lnSpc>
                  <a:spcPct val="115000"/>
                </a:lnSpc>
                <a:spcBef>
                  <a:spcPts val="0"/>
                </a:spcBef>
                <a:spcAft>
                  <a:spcPts val="0"/>
                </a:spcAft>
                <a:buNone/>
              </a:pPr>
              <a:r>
                <a:rPr lang="de-DE" sz="1400" b="1">
                  <a:solidFill>
                    <a:schemeClr val="dk1"/>
                  </a:solidFill>
                  <a:latin typeface="Sofia Sans"/>
                  <a:ea typeface="Sofia Sans"/>
                  <a:cs typeface="Sofia Sans"/>
                  <a:sym typeface="Sofia Sans"/>
                </a:rPr>
                <a:t>15 CM</a:t>
              </a:r>
            </a:p>
          </p:txBody>
        </p:sp>
        <p:sp>
          <p:nvSpPr>
            <p:cNvPr id="35" name="TextBox 34">
              <a:extLst>
                <a:ext uri="{FF2B5EF4-FFF2-40B4-BE49-F238E27FC236}">
                  <a16:creationId xmlns:a16="http://schemas.microsoft.com/office/drawing/2014/main" id="{396BFC07-D959-E906-E799-4160A105573C}"/>
                </a:ext>
              </a:extLst>
            </p:cNvPr>
            <p:cNvSpPr txBox="1"/>
            <p:nvPr/>
          </p:nvSpPr>
          <p:spPr>
            <a:xfrm>
              <a:off x="2097881" y="2260311"/>
              <a:ext cx="819092" cy="332014"/>
            </a:xfrm>
            <a:prstGeom prst="rect">
              <a:avLst/>
            </a:prstGeom>
            <a:noFill/>
          </p:spPr>
          <p:txBody>
            <a:bodyPr wrap="square">
              <a:spAutoFit/>
            </a:bodyPr>
            <a:lstStyle/>
            <a:p>
              <a:pPr marL="0" lvl="0" indent="0" algn="ctr" rtl="0">
                <a:lnSpc>
                  <a:spcPct val="115000"/>
                </a:lnSpc>
                <a:spcBef>
                  <a:spcPts val="0"/>
                </a:spcBef>
                <a:spcAft>
                  <a:spcPts val="0"/>
                </a:spcAft>
                <a:buNone/>
              </a:pPr>
              <a:r>
                <a:rPr lang="de-DE" sz="1400" b="1">
                  <a:solidFill>
                    <a:schemeClr val="dk1"/>
                  </a:solidFill>
                  <a:latin typeface="Sofia Sans"/>
                  <a:ea typeface="Sofia Sans"/>
                  <a:cs typeface="Sofia Sans"/>
                  <a:sym typeface="Sofia Sans"/>
                </a:rPr>
                <a:t>20 CM</a:t>
              </a:r>
            </a:p>
          </p:txBody>
        </p:sp>
      </p:grpSp>
      <p:sp>
        <p:nvSpPr>
          <p:cNvPr id="9" name="Textfeld 11">
            <a:extLst>
              <a:ext uri="{FF2B5EF4-FFF2-40B4-BE49-F238E27FC236}">
                <a16:creationId xmlns:a16="http://schemas.microsoft.com/office/drawing/2014/main" id="{8648402B-0CC3-BD8A-6FD2-40CF6C657DC5}"/>
              </a:ext>
            </a:extLst>
          </p:cNvPr>
          <p:cNvSpPr txBox="1"/>
          <p:nvPr/>
        </p:nvSpPr>
        <p:spPr>
          <a:xfrm>
            <a:off x="822588" y="7801519"/>
            <a:ext cx="5919009" cy="195908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solidFill>
                  <a:srgbClr val="FF0000"/>
                </a:solidFill>
                <a:latin typeface="Sofia Sans" panose="020B0604020202020204" charset="0"/>
                <a:ea typeface="Times New Roman" panose="02020603050405020304" pitchFamily="18" charset="0"/>
              </a:rPr>
              <a:t>1. How does the water level affect the distance the jet travels?: </a:t>
            </a:r>
          </a:p>
          <a:p>
            <a:r>
              <a:rPr lang="en-US" sz="1200">
                <a:solidFill>
                  <a:srgbClr val="FF0000"/>
                </a:solidFill>
                <a:latin typeface="Sofia Sans" panose="020B0604020202020204" charset="0"/>
                <a:ea typeface="Times New Roman" panose="02020603050405020304" pitchFamily="18" charset="0"/>
              </a:rPr>
              <a:t>The higher the water level, the farther the water jet travels. This is because more pressure at greater water volumes pushes the water out with more force.</a:t>
            </a:r>
          </a:p>
          <a:p>
            <a:endParaRPr lang="en-US" sz="1200">
              <a:solidFill>
                <a:srgbClr val="FF0000"/>
              </a:solidFill>
              <a:latin typeface="Sofia Sans" panose="020B0604020202020204" charset="0"/>
              <a:ea typeface="Times New Roman" panose="02020603050405020304" pitchFamily="18" charset="0"/>
            </a:endParaRPr>
          </a:p>
          <a:p>
            <a:r>
              <a:rPr lang="en-US" sz="1200">
                <a:solidFill>
                  <a:srgbClr val="FF0000"/>
                </a:solidFill>
                <a:latin typeface="Sofia Sans" panose="020B0604020202020204" charset="0"/>
                <a:ea typeface="Times New Roman" panose="02020603050405020304" pitchFamily="18" charset="0"/>
              </a:rPr>
              <a:t>2. Real life examples: </a:t>
            </a:r>
          </a:p>
          <a:p>
            <a:endParaRPr lang="en-US" sz="1200">
              <a:solidFill>
                <a:srgbClr val="FF0000"/>
              </a:solidFill>
              <a:latin typeface="Sofia Sans" panose="020B0604020202020204" charset="0"/>
              <a:ea typeface="Times New Roman" panose="02020603050405020304" pitchFamily="18" charset="0"/>
            </a:endParaRPr>
          </a:p>
          <a:p>
            <a:pPr marL="171450" indent="-171450">
              <a:buFont typeface="Arial" panose="020B0604020202020204" pitchFamily="34" charset="0"/>
              <a:buChar char="•"/>
            </a:pPr>
            <a:r>
              <a:rPr lang="en-US" sz="1200">
                <a:solidFill>
                  <a:srgbClr val="FF0000"/>
                </a:solidFill>
                <a:latin typeface="Sofia Sans" panose="020B0604020202020204" charset="0"/>
                <a:ea typeface="Times New Roman" panose="02020603050405020304" pitchFamily="18" charset="0"/>
              </a:rPr>
              <a:t>In fountains, the height of the water source affects how high the water sprays.</a:t>
            </a:r>
          </a:p>
          <a:p>
            <a:pPr marL="171450" indent="-171450">
              <a:buFont typeface="Arial" panose="020B0604020202020204" pitchFamily="34" charset="0"/>
              <a:buChar char="•"/>
            </a:pPr>
            <a:r>
              <a:rPr lang="en-US" sz="1200">
                <a:solidFill>
                  <a:srgbClr val="FF0000"/>
                </a:solidFill>
                <a:latin typeface="Sofia Sans" panose="020B0604020202020204" charset="0"/>
                <a:ea typeface="Times New Roman" panose="02020603050405020304" pitchFamily="18" charset="0"/>
              </a:rPr>
              <a:t>In household water tanks, higher water levels ensure stronger water flow through taps..</a:t>
            </a:r>
          </a:p>
          <a:p>
            <a:endParaRPr lang="en-US" sz="1200">
              <a:solidFill>
                <a:srgbClr val="FF0000"/>
              </a:solidFill>
              <a:latin typeface="Sofia Sans" panose="020B0604020202020204" charset="0"/>
              <a:ea typeface="Times New Roman" panose="02020603050405020304" pitchFamily="18" charset="0"/>
            </a:endParaRPr>
          </a:p>
        </p:txBody>
      </p:sp>
      <p:sp>
        <p:nvSpPr>
          <p:cNvPr id="10" name="Untertitel 5">
            <a:extLst>
              <a:ext uri="{FF2B5EF4-FFF2-40B4-BE49-F238E27FC236}">
                <a16:creationId xmlns:a16="http://schemas.microsoft.com/office/drawing/2014/main" id="{DBB26935-23F5-063E-BD13-11C5AEA68123}"/>
              </a:ext>
            </a:extLst>
          </p:cNvPr>
          <p:cNvSpPr txBox="1">
            <a:spLocks/>
          </p:cNvSpPr>
          <p:nvPr/>
        </p:nvSpPr>
        <p:spPr>
          <a:xfrm>
            <a:off x="741008" y="608792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rgbClr val="4E749C"/>
                </a:solidFill>
              </a:rPr>
              <a:t>Task 1</a:t>
            </a:r>
          </a:p>
        </p:txBody>
      </p:sp>
    </p:spTree>
    <p:extLst>
      <p:ext uri="{BB962C8B-B14F-4D97-AF65-F5344CB8AC3E}">
        <p14:creationId xmlns:p14="http://schemas.microsoft.com/office/powerpoint/2010/main" val="16579118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959D1-EA00-A072-6E4D-CF845BAB78EF}"/>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1C7773C0-01F5-A75D-D71A-FA1DE299FFD1}"/>
              </a:ext>
            </a:extLst>
          </p:cNvPr>
          <p:cNvSpPr>
            <a:spLocks noGrp="1"/>
          </p:cNvSpPr>
          <p:nvPr>
            <p:ph type="sldNum" sz="quarter" idx="16"/>
          </p:nvPr>
        </p:nvSpPr>
        <p:spPr/>
        <p:txBody>
          <a:bodyPr/>
          <a:lstStyle/>
          <a:p>
            <a:fld id="{DF7F771E-9578-4C04-B869-01AF4C35C90C}" type="slidenum">
              <a:rPr lang="de-DE" smtClean="0"/>
              <a:t>54</a:t>
            </a:fld>
            <a:endParaRPr lang="de-DE"/>
          </a:p>
        </p:txBody>
      </p:sp>
      <p:sp>
        <p:nvSpPr>
          <p:cNvPr id="9" name="Rechteck 1">
            <a:extLst>
              <a:ext uri="{FF2B5EF4-FFF2-40B4-BE49-F238E27FC236}">
                <a16:creationId xmlns:a16="http://schemas.microsoft.com/office/drawing/2014/main" id="{3DD1C3F4-3AAC-161F-6D57-057BF67FBD4B}"/>
              </a:ext>
            </a:extLst>
          </p:cNvPr>
          <p:cNvSpPr/>
          <p:nvPr/>
        </p:nvSpPr>
        <p:spPr>
          <a:xfrm>
            <a:off x="707526" y="1596646"/>
            <a:ext cx="5740172" cy="577418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8894252F-1126-B46E-7476-45DEE594AE5F}"/>
              </a:ext>
            </a:extLst>
          </p:cNvPr>
          <p:cNvSpPr>
            <a:spLocks noChangeAspect="1"/>
          </p:cNvSpPr>
          <p:nvPr/>
        </p:nvSpPr>
        <p:spPr>
          <a:xfrm>
            <a:off x="6117626"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2B300A03-6731-2CF8-FA0F-56E23C0B70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45473" y="1405785"/>
            <a:ext cx="404450" cy="404450"/>
          </a:xfrm>
          <a:prstGeom prst="rect">
            <a:avLst/>
          </a:prstGeom>
        </p:spPr>
      </p:pic>
      <p:sp>
        <p:nvSpPr>
          <p:cNvPr id="12" name="Untertitel 5">
            <a:extLst>
              <a:ext uri="{FF2B5EF4-FFF2-40B4-BE49-F238E27FC236}">
                <a16:creationId xmlns:a16="http://schemas.microsoft.com/office/drawing/2014/main" id="{1039C178-B696-23F6-9AC7-7D09DF848AFC}"/>
              </a:ext>
            </a:extLst>
          </p:cNvPr>
          <p:cNvSpPr txBox="1">
            <a:spLocks/>
          </p:cNvSpPr>
          <p:nvPr/>
        </p:nvSpPr>
        <p:spPr>
          <a:xfrm>
            <a:off x="831218" y="171431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F1252C71-D0F6-8774-83CC-E1843AC06E9A}"/>
              </a:ext>
            </a:extLst>
          </p:cNvPr>
          <p:cNvSpPr>
            <a:spLocks noGrp="1"/>
          </p:cNvSpPr>
          <p:nvPr>
            <p:ph type="subTitle" idx="1"/>
          </p:nvPr>
        </p:nvSpPr>
        <p:spPr>
          <a:xfrm>
            <a:off x="835646" y="2132956"/>
            <a:ext cx="5281980" cy="5146141"/>
          </a:xfrm>
        </p:spPr>
        <p:txBody>
          <a:bodyPr/>
          <a:lstStyle/>
          <a:p>
            <a:pPr marL="139700" indent="0"/>
            <a:r>
              <a:rPr lang="en-US" sz="1200" b="1"/>
              <a:t>The Effect of Water Volume on Force: </a:t>
            </a:r>
            <a:r>
              <a:rPr lang="en-US" sz="1200"/>
              <a:t>Water volume directly impacts the force and pressure exerted. The experiment demonstrated that as the water level in the bottle increased, the force of the water jet also increased. This is because greater water height corresponds to higher potential energy, leading to more powerful water flow. This principle illustrates the importance of maintaining adequate water volume for consistent and efficient energy generation in hydro-energy systems.</a:t>
            </a:r>
          </a:p>
          <a:p>
            <a:pPr marL="139700" indent="0"/>
            <a:endParaRPr lang="en-US" sz="1200"/>
          </a:p>
          <a:p>
            <a:pPr marL="139700" indent="0"/>
            <a:r>
              <a:rPr lang="en-US" sz="1200" b="1"/>
              <a:t>The Relationship Between Height and Energy Output: </a:t>
            </a:r>
            <a:r>
              <a:rPr lang="en-US" sz="1200"/>
              <a:t>By varying the water levels, the experiment revealed how changes in head height influence the velocity and reach of the water jet. This aligns with the concept that higher head heights increase kinetic energy and stronger water flow, optimizing energy output in hydro systems.</a:t>
            </a:r>
          </a:p>
          <a:p>
            <a:pPr marL="139700" indent="0"/>
            <a:endParaRPr lang="en-US" sz="1200"/>
          </a:p>
          <a:p>
            <a:pPr marL="139700" indent="0"/>
            <a:r>
              <a:rPr lang="en-US" sz="1200" b="1"/>
              <a:t>Practical Application in Hydro Systems: </a:t>
            </a:r>
            <a:r>
              <a:rPr lang="en-US" sz="1200"/>
              <a:t>The experiment’s results simulate real-world scenarios, such as the use of reservoirs in hydroelectric plants. Maintaining higher water levels ensures more potent and efficient turbine operation, while understanding water flow mechanics helps mitigate energy losses due to inadequate water pressure or volume.</a:t>
            </a:r>
          </a:p>
          <a:p>
            <a:pPr marL="139700" indent="0"/>
            <a:endParaRPr lang="en-US" sz="1200"/>
          </a:p>
          <a:p>
            <a:pPr marL="139700" indent="0"/>
            <a:r>
              <a:rPr lang="en-US" sz="1200"/>
              <a:t>This experiment provided hands-on insight into how water volume and head height affect energy output, forming a foundational understanding for optimizing hydro-energy systems.</a:t>
            </a:r>
          </a:p>
          <a:p>
            <a:pPr>
              <a:buFont typeface="Arial" panose="020B0604020202020204" pitchFamily="34" charset="0"/>
              <a:buChar char="•"/>
            </a:pPr>
            <a:endParaRPr lang="en-US" sz="1200"/>
          </a:p>
        </p:txBody>
      </p:sp>
    </p:spTree>
    <p:extLst>
      <p:ext uri="{BB962C8B-B14F-4D97-AF65-F5344CB8AC3E}">
        <p14:creationId xmlns:p14="http://schemas.microsoft.com/office/powerpoint/2010/main" val="27494911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1BC97-29FF-9605-5C55-E3E7C8FD9307}"/>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9F65E052-CA14-849B-8290-110936432D46}"/>
              </a:ext>
            </a:extLst>
          </p:cNvPr>
          <p:cNvSpPr>
            <a:spLocks noGrp="1"/>
          </p:cNvSpPr>
          <p:nvPr>
            <p:ph type="sldNum" sz="quarter" idx="4"/>
          </p:nvPr>
        </p:nvSpPr>
        <p:spPr/>
        <p:txBody>
          <a:bodyPr/>
          <a:lstStyle/>
          <a:p>
            <a:fld id="{DF7F771E-9578-4C04-B869-01AF4C35C90C}" type="slidenum">
              <a:rPr lang="de-DE" smtClean="0"/>
              <a:t>55</a:t>
            </a:fld>
            <a:endParaRPr lang="de-DE"/>
          </a:p>
        </p:txBody>
      </p:sp>
      <p:sp>
        <p:nvSpPr>
          <p:cNvPr id="13" name="Untertitel 2">
            <a:extLst>
              <a:ext uri="{FF2B5EF4-FFF2-40B4-BE49-F238E27FC236}">
                <a16:creationId xmlns:a16="http://schemas.microsoft.com/office/drawing/2014/main" id="{490A6BFC-36DD-9BB2-C1FC-F67273848B46}"/>
              </a:ext>
            </a:extLst>
          </p:cNvPr>
          <p:cNvSpPr>
            <a:spLocks noGrp="1"/>
          </p:cNvSpPr>
          <p:nvPr>
            <p:ph type="subTitle" idx="4294967295"/>
          </p:nvPr>
        </p:nvSpPr>
        <p:spPr>
          <a:xfrm>
            <a:off x="719138" y="2628900"/>
            <a:ext cx="6060502" cy="2260600"/>
          </a:xfrm>
        </p:spPr>
        <p:txBody>
          <a:bodyPr/>
          <a:lstStyle/>
          <a:p>
            <a:pPr marL="144000" indent="0">
              <a:buNone/>
            </a:pPr>
            <a:r>
              <a:rPr lang="en-US" sz="1200"/>
              <a:t>The next experiment will focus on the water path and how obstacles can disrupt its flow. When an obstacle intervenes, water’s movement changes significantly, affecting both its speed and energy. In this activity, we’ll explore how these disruptions impact the flow.</a:t>
            </a:r>
          </a:p>
          <a:p>
            <a:pPr marL="144000"/>
            <a:endParaRPr lang="en-US" sz="1200"/>
          </a:p>
          <a:p>
            <a:pPr marL="144000" indent="0">
              <a:buNone/>
            </a:pPr>
            <a:r>
              <a:rPr lang="en-US" sz="1200"/>
              <a:t>For this task, imagine you have a pipeline with flowing water. Midway through the pipeline, the flow encounters a significant obstacle made of one of the following materials:</a:t>
            </a:r>
          </a:p>
          <a:p>
            <a:pPr marL="144000"/>
            <a:endParaRPr lang="en-US" sz="1200"/>
          </a:p>
          <a:p>
            <a:pPr marL="144000" indent="0">
              <a:buNone/>
            </a:pPr>
            <a:r>
              <a:rPr lang="en-US" sz="1200"/>
              <a:t>Your task: Rank the materials from 1 to 4, with 1 being the material that you think would have the most significant impact on disrupting the water flow. Give a brief explanation of your ranking</a:t>
            </a:r>
          </a:p>
          <a:p>
            <a:pPr marL="144000" lvl="2" indent="-285750">
              <a:buFont typeface="Arial" panose="020B0604020202020204" pitchFamily="34" charset="0"/>
              <a:buChar char="•"/>
            </a:pPr>
            <a:endParaRPr lang="en-US" sz="1200"/>
          </a:p>
        </p:txBody>
      </p:sp>
      <p:sp>
        <p:nvSpPr>
          <p:cNvPr id="3" name="Textfeld 11">
            <a:extLst>
              <a:ext uri="{FF2B5EF4-FFF2-40B4-BE49-F238E27FC236}">
                <a16:creationId xmlns:a16="http://schemas.microsoft.com/office/drawing/2014/main" id="{32B3AF4D-5026-6987-402A-4C1FB9719C70}"/>
              </a:ext>
            </a:extLst>
          </p:cNvPr>
          <p:cNvSpPr txBox="1"/>
          <p:nvPr/>
        </p:nvSpPr>
        <p:spPr>
          <a:xfrm>
            <a:off x="860631" y="7828072"/>
            <a:ext cx="5919009" cy="201029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6000">
              <a:buFont typeface="+mj-lt"/>
              <a:buAutoNum type="arabicPeriod"/>
            </a:pPr>
            <a:r>
              <a:rPr lang="en-US" sz="1200">
                <a:solidFill>
                  <a:srgbClr val="FF0000"/>
                </a:solidFill>
                <a:latin typeface="Sofia Sans" panose="020B0604020202020204" charset="0"/>
              </a:rPr>
              <a:t>Cotton balls: These are likely to absorb water and create the most significant blockage, disrupting the flow considerably.</a:t>
            </a:r>
          </a:p>
          <a:p>
            <a:pPr marL="36000">
              <a:buFont typeface="+mj-lt"/>
              <a:buAutoNum type="arabicPeriod"/>
            </a:pPr>
            <a:r>
              <a:rPr lang="en-US" sz="1200">
                <a:solidFill>
                  <a:srgbClr val="FF0000"/>
                </a:solidFill>
                <a:latin typeface="Sofia Sans" panose="020B0604020202020204" charset="0"/>
              </a:rPr>
              <a:t>Paper balls: While not as absorbent as cotton, they can clump together and block the path, slowing the flow significantly.</a:t>
            </a:r>
          </a:p>
          <a:p>
            <a:pPr marL="36000">
              <a:buFont typeface="+mj-lt"/>
              <a:buAutoNum type="arabicPeriod"/>
            </a:pPr>
            <a:r>
              <a:rPr lang="en-US" sz="1200">
                <a:solidFill>
                  <a:srgbClr val="FF0000"/>
                </a:solidFill>
                <a:latin typeface="Sofia Sans" panose="020B0604020202020204" charset="0"/>
              </a:rPr>
              <a:t>Little rocks: Rocks are dense and might create obstacles, but water can flow around them with less disruption compared to softer materials.</a:t>
            </a:r>
          </a:p>
          <a:p>
            <a:pPr marL="36000">
              <a:buFont typeface="+mj-lt"/>
              <a:buAutoNum type="arabicPeriod"/>
            </a:pPr>
            <a:r>
              <a:rPr lang="en-US" sz="1200">
                <a:solidFill>
                  <a:srgbClr val="FF0000"/>
                </a:solidFill>
                <a:latin typeface="Sofia Sans" panose="020B0604020202020204" charset="0"/>
              </a:rPr>
              <a:t>Aluminum balls: These are smooth and less likely to block the flow as water can easily pass around them.</a:t>
            </a:r>
          </a:p>
          <a:p>
            <a:endParaRPr lang="en-US" sz="1200">
              <a:solidFill>
                <a:srgbClr val="FF0000"/>
              </a:solidFill>
              <a:latin typeface="Sofia Sans" panose="020B0604020202020204" charset="0"/>
              <a:ea typeface="Times New Roman" panose="02020603050405020304" pitchFamily="18" charset="0"/>
            </a:endParaRPr>
          </a:p>
        </p:txBody>
      </p:sp>
      <p:sp>
        <p:nvSpPr>
          <p:cNvPr id="5" name="Untertitel 5">
            <a:extLst>
              <a:ext uri="{FF2B5EF4-FFF2-40B4-BE49-F238E27FC236}">
                <a16:creationId xmlns:a16="http://schemas.microsoft.com/office/drawing/2014/main" id="{F73CF5C4-2B71-B639-555C-F484AB579029}"/>
              </a:ext>
            </a:extLst>
          </p:cNvPr>
          <p:cNvSpPr txBox="1">
            <a:spLocks/>
          </p:cNvSpPr>
          <p:nvPr/>
        </p:nvSpPr>
        <p:spPr>
          <a:xfrm>
            <a:off x="748947" y="228526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500">
                <a:solidFill>
                  <a:srgbClr val="4E749C"/>
                </a:solidFill>
              </a:rPr>
              <a:t>Task 2</a:t>
            </a:r>
          </a:p>
        </p:txBody>
      </p:sp>
      <p:sp>
        <p:nvSpPr>
          <p:cNvPr id="16" name="TextBox 15">
            <a:extLst>
              <a:ext uri="{FF2B5EF4-FFF2-40B4-BE49-F238E27FC236}">
                <a16:creationId xmlns:a16="http://schemas.microsoft.com/office/drawing/2014/main" id="{B917FD0C-4D38-EF76-8B73-68DDB4D7F276}"/>
              </a:ext>
            </a:extLst>
          </p:cNvPr>
          <p:cNvSpPr txBox="1"/>
          <p:nvPr/>
        </p:nvSpPr>
        <p:spPr>
          <a:xfrm>
            <a:off x="748947" y="1288257"/>
            <a:ext cx="5906136" cy="954107"/>
          </a:xfrm>
          <a:prstGeom prst="rect">
            <a:avLst/>
          </a:prstGeom>
          <a:noFill/>
        </p:spPr>
        <p:txBody>
          <a:bodyPr wrap="square">
            <a:spAutoFit/>
          </a:bodyPr>
          <a:lstStyle/>
          <a:p>
            <a:r>
              <a:rPr lang="en-US" sz="2800" b="1">
                <a:latin typeface="Epilogue" panose="020B0604020202020204" charset="0"/>
                <a:cs typeface="Epilogue" panose="020B0604020202020204" charset="0"/>
              </a:rPr>
              <a:t>2. Effect of obstacles on the force of water</a:t>
            </a:r>
          </a:p>
        </p:txBody>
      </p:sp>
      <p:pic>
        <p:nvPicPr>
          <p:cNvPr id="8" name="Picture 7" descr="A pile of cotton balls&#10;&#10;Description automatically generated">
            <a:extLst>
              <a:ext uri="{FF2B5EF4-FFF2-40B4-BE49-F238E27FC236}">
                <a16:creationId xmlns:a16="http://schemas.microsoft.com/office/drawing/2014/main" id="{20FF5BC9-9D95-D04B-DF6A-061C5017EA0A}"/>
              </a:ext>
            </a:extLst>
          </p:cNvPr>
          <p:cNvPicPr>
            <a:picLocks noChangeAspect="1"/>
          </p:cNvPicPr>
          <p:nvPr/>
        </p:nvPicPr>
        <p:blipFill>
          <a:blip r:embed="rId2"/>
          <a:stretch>
            <a:fillRect/>
          </a:stretch>
        </p:blipFill>
        <p:spPr>
          <a:xfrm>
            <a:off x="1804620" y="5412841"/>
            <a:ext cx="1446584" cy="1090533"/>
          </a:xfrm>
          <a:prstGeom prst="rect">
            <a:avLst/>
          </a:prstGeom>
        </p:spPr>
      </p:pic>
      <p:pic>
        <p:nvPicPr>
          <p:cNvPr id="9" name="Picture 8" descr="A close-up of a piece of aluminum foil&#10;&#10;Description automatically generated">
            <a:extLst>
              <a:ext uri="{FF2B5EF4-FFF2-40B4-BE49-F238E27FC236}">
                <a16:creationId xmlns:a16="http://schemas.microsoft.com/office/drawing/2014/main" id="{68D14354-5DAF-0BE8-6CAA-E8D5D13DF6A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24846" y1="43305" x2="22846" y2="41213"/>
                        <a14:backgroundMark x1="22308" y1="54812" x2="22308" y2="54812"/>
                        <a14:backgroundMark x1="30231" y1="68724" x2="30231" y2="68724"/>
                      </a14:backgroundRemoval>
                    </a14:imgEffect>
                  </a14:imgLayer>
                </a14:imgProps>
              </a:ext>
            </a:extLst>
          </a:blip>
          <a:srcRect l="19479" t="16118" r="36162" b="23620"/>
          <a:stretch/>
        </p:blipFill>
        <p:spPr>
          <a:xfrm>
            <a:off x="4277448" y="5523942"/>
            <a:ext cx="835660" cy="834843"/>
          </a:xfrm>
          <a:prstGeom prst="rect">
            <a:avLst/>
          </a:prstGeom>
        </p:spPr>
      </p:pic>
      <p:pic>
        <p:nvPicPr>
          <p:cNvPr id="14" name="Picture 13" descr="A pile of small rocks&#10;&#10;Description automatically generated">
            <a:extLst>
              <a:ext uri="{FF2B5EF4-FFF2-40B4-BE49-F238E27FC236}">
                <a16:creationId xmlns:a16="http://schemas.microsoft.com/office/drawing/2014/main" id="{F520C549-3162-928D-A672-976953670484}"/>
              </a:ext>
            </a:extLst>
          </p:cNvPr>
          <p:cNvPicPr>
            <a:picLocks noChangeAspect="1"/>
          </p:cNvPicPr>
          <p:nvPr/>
        </p:nvPicPr>
        <p:blipFill>
          <a:blip r:embed="rId5"/>
          <a:stretch>
            <a:fillRect/>
          </a:stretch>
        </p:blipFill>
        <p:spPr>
          <a:xfrm>
            <a:off x="1804620" y="6574180"/>
            <a:ext cx="1424027" cy="949826"/>
          </a:xfrm>
          <a:prstGeom prst="rect">
            <a:avLst/>
          </a:prstGeom>
        </p:spPr>
      </p:pic>
      <p:pic>
        <p:nvPicPr>
          <p:cNvPr id="18" name="Picture 17" descr="A crumpled white paper ball&#10;&#10;Description automatically generated">
            <a:extLst>
              <a:ext uri="{FF2B5EF4-FFF2-40B4-BE49-F238E27FC236}">
                <a16:creationId xmlns:a16="http://schemas.microsoft.com/office/drawing/2014/main" id="{1FED4FF7-4E82-8BDB-2E09-2C4B1A4D493F}"/>
              </a:ext>
            </a:extLst>
          </p:cNvPr>
          <p:cNvPicPr>
            <a:picLocks noChangeAspect="1"/>
          </p:cNvPicPr>
          <p:nvPr/>
        </p:nvPicPr>
        <p:blipFill>
          <a:blip r:embed="rId6"/>
          <a:stretch>
            <a:fillRect/>
          </a:stretch>
        </p:blipFill>
        <p:spPr>
          <a:xfrm>
            <a:off x="4132422" y="6413168"/>
            <a:ext cx="1125712" cy="1214310"/>
          </a:xfrm>
          <a:prstGeom prst="rect">
            <a:avLst/>
          </a:prstGeom>
        </p:spPr>
      </p:pic>
    </p:spTree>
    <p:extLst>
      <p:ext uri="{BB962C8B-B14F-4D97-AF65-F5344CB8AC3E}">
        <p14:creationId xmlns:p14="http://schemas.microsoft.com/office/powerpoint/2010/main" val="21380835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00566-1A8B-62E6-4CDE-FCE2CFD1EBE2}"/>
            </a:ext>
          </a:extLst>
        </p:cNvPr>
        <p:cNvGrpSpPr/>
        <p:nvPr/>
      </p:nvGrpSpPr>
      <p:grpSpPr>
        <a:xfrm>
          <a:off x="0" y="0"/>
          <a:ext cx="0" cy="0"/>
          <a:chOff x="0" y="0"/>
          <a:chExt cx="0" cy="0"/>
        </a:xfrm>
      </p:grpSpPr>
      <p:sp>
        <p:nvSpPr>
          <p:cNvPr id="13" name="Untertitel 2">
            <a:extLst>
              <a:ext uri="{FF2B5EF4-FFF2-40B4-BE49-F238E27FC236}">
                <a16:creationId xmlns:a16="http://schemas.microsoft.com/office/drawing/2014/main" id="{C1D833C0-E8B0-1E08-2D74-834364923E5F}"/>
              </a:ext>
            </a:extLst>
          </p:cNvPr>
          <p:cNvSpPr>
            <a:spLocks noGrp="1"/>
          </p:cNvSpPr>
          <p:nvPr>
            <p:ph type="subTitle" idx="1"/>
          </p:nvPr>
        </p:nvSpPr>
        <p:spPr>
          <a:xfrm>
            <a:off x="719138" y="4194902"/>
            <a:ext cx="6250661" cy="5375605"/>
          </a:xfrm>
        </p:spPr>
        <p:txBody>
          <a:bodyPr/>
          <a:lstStyle/>
          <a:p>
            <a:pPr marL="139700" indent="0">
              <a:buNone/>
            </a:pPr>
            <a:r>
              <a:rPr lang="en-US" sz="1200"/>
              <a:t>Follow these Steps to conduct the Experiment:</a:t>
            </a:r>
          </a:p>
          <a:p>
            <a:pPr marL="139700" indent="0"/>
            <a:endParaRPr lang="en-US" sz="1200"/>
          </a:p>
          <a:p>
            <a:pPr marL="368300" indent="-228600">
              <a:buClr>
                <a:srgbClr val="4E749C"/>
              </a:buClr>
              <a:buFont typeface="+mj-lt"/>
              <a:buAutoNum type="arabicPeriod"/>
            </a:pPr>
            <a:r>
              <a:rPr lang="en-US" sz="1200"/>
              <a:t>Prepare the Bottle: Use the ruler to measure from the bottom of the bottle to the 5 cm mark. Mark this spot with a dot and draw a horizontal line across the bottle. Repeat this step at 10 cm and 15 cm, marking the positions on the bottle.</a:t>
            </a:r>
          </a:p>
          <a:p>
            <a:pPr marL="368300" indent="-228600">
              <a:buClr>
                <a:srgbClr val="4E749C"/>
              </a:buClr>
              <a:buFont typeface="+mj-lt"/>
              <a:buAutoNum type="arabicPeriod"/>
            </a:pPr>
            <a:r>
              <a:rPr lang="en-US" sz="1200"/>
              <a:t>Use the push pin to create a hole at the 5 cm mark. Insert one end of the straw into the hole and secure it tightly with duct tape to avoid leaks.</a:t>
            </a:r>
          </a:p>
          <a:p>
            <a:pPr marL="368300" indent="-228600">
              <a:buClr>
                <a:srgbClr val="4E749C"/>
              </a:buClr>
              <a:buFont typeface="+mj-lt"/>
              <a:buAutoNum type="arabicPeriod"/>
            </a:pPr>
            <a:r>
              <a:rPr lang="en-US" sz="1200"/>
              <a:t>Connect two or more straws to form a longer water path. Tape the straws together securely to prevent disconnections during the experiment.</a:t>
            </a:r>
          </a:p>
          <a:p>
            <a:pPr marL="368300" indent="-228600">
              <a:buClr>
                <a:srgbClr val="4E749C"/>
              </a:buClr>
              <a:buFont typeface="+mj-lt"/>
              <a:buAutoNum type="arabicPeriod"/>
            </a:pPr>
            <a:r>
              <a:rPr lang="en-US" sz="1200"/>
              <a:t>Identify a section of the straw path where obstacles can be added. Mark this area with a permanent marker.</a:t>
            </a:r>
          </a:p>
          <a:p>
            <a:pPr marL="368300" indent="-228600">
              <a:buClr>
                <a:srgbClr val="4E749C"/>
              </a:buClr>
              <a:buFont typeface="+mj-lt"/>
              <a:buAutoNum type="arabicPeriod"/>
            </a:pPr>
            <a:r>
              <a:rPr lang="en-US" sz="1200"/>
              <a:t>Perform initial testing to ensure a steady flow from the straw.</a:t>
            </a:r>
          </a:p>
          <a:p>
            <a:pPr marL="368300" indent="-228600">
              <a:buFont typeface="+mj-lt"/>
              <a:buAutoNum type="arabicPeriod"/>
            </a:pPr>
            <a:endParaRPr lang="en-US" sz="1200"/>
          </a:p>
          <a:p>
            <a:pPr marL="139700" indent="0">
              <a:buNone/>
            </a:pPr>
            <a:r>
              <a:rPr lang="en-US" sz="1200"/>
              <a:t>Procedure:</a:t>
            </a:r>
          </a:p>
          <a:p>
            <a:pPr marL="139700" indent="0"/>
            <a:endParaRPr lang="en-US" sz="1200"/>
          </a:p>
          <a:p>
            <a:pPr marL="368300" indent="-228600">
              <a:buClr>
                <a:srgbClr val="4E749C"/>
              </a:buClr>
              <a:buFont typeface="+mj-lt"/>
              <a:buAutoNum type="arabicPeriod"/>
            </a:pPr>
            <a:r>
              <a:rPr lang="en-US" sz="1200"/>
              <a:t>Fill the soda bottle with water up to the 15 cm mark.</a:t>
            </a:r>
          </a:p>
          <a:p>
            <a:pPr marL="368300" indent="-228600">
              <a:buClr>
                <a:srgbClr val="4E749C"/>
              </a:buClr>
              <a:buFont typeface="+mj-lt"/>
              <a:buAutoNum type="arabicPeriod"/>
            </a:pPr>
            <a:r>
              <a:rPr lang="en-US" sz="1200"/>
              <a:t>Place the bottle on a stable surface with the straw directed downward toward the shallow tray or container.</a:t>
            </a:r>
          </a:p>
          <a:p>
            <a:pPr marL="368300" indent="-228600">
              <a:buClr>
                <a:srgbClr val="4E749C"/>
              </a:buClr>
              <a:buFont typeface="+mj-lt"/>
              <a:buAutoNum type="arabicPeriod"/>
            </a:pPr>
            <a:r>
              <a:rPr lang="en-US" sz="1200"/>
              <a:t>Let the water flow through the straw without any obstacles. Measure the distance the water path travels and record it.</a:t>
            </a:r>
          </a:p>
          <a:p>
            <a:pPr marL="368300" indent="-228600">
              <a:buClr>
                <a:srgbClr val="4E749C"/>
              </a:buClr>
              <a:buFont typeface="+mj-lt"/>
              <a:buAutoNum type="arabicPeriod"/>
            </a:pPr>
            <a:r>
              <a:rPr lang="en-US" sz="1200"/>
              <a:t>Insert one type of obstacle into the marked obstacle zone of the straw (e.g., cotton ball or sponge).</a:t>
            </a:r>
          </a:p>
        </p:txBody>
      </p:sp>
      <p:sp>
        <p:nvSpPr>
          <p:cNvPr id="15" name="Foliennummernplatzhalter 14">
            <a:extLst>
              <a:ext uri="{FF2B5EF4-FFF2-40B4-BE49-F238E27FC236}">
                <a16:creationId xmlns:a16="http://schemas.microsoft.com/office/drawing/2014/main" id="{5D297E68-53C9-9C73-6A4F-F5C03C9ADBA6}"/>
              </a:ext>
            </a:extLst>
          </p:cNvPr>
          <p:cNvSpPr>
            <a:spLocks noGrp="1"/>
          </p:cNvSpPr>
          <p:nvPr>
            <p:ph type="sldNum" sz="quarter" idx="4"/>
          </p:nvPr>
        </p:nvSpPr>
        <p:spPr/>
        <p:txBody>
          <a:bodyPr/>
          <a:lstStyle/>
          <a:p>
            <a:fld id="{DF7F771E-9578-4C04-B869-01AF4C35C90C}" type="slidenum">
              <a:rPr lang="de-DE" smtClean="0"/>
              <a:t>56</a:t>
            </a:fld>
            <a:endParaRPr lang="de-DE"/>
          </a:p>
        </p:txBody>
      </p:sp>
      <p:sp>
        <p:nvSpPr>
          <p:cNvPr id="4" name="TextBox 3">
            <a:extLst>
              <a:ext uri="{FF2B5EF4-FFF2-40B4-BE49-F238E27FC236}">
                <a16:creationId xmlns:a16="http://schemas.microsoft.com/office/drawing/2014/main" id="{8AD5740E-40D6-C425-ECBD-7C606B4D024E}"/>
              </a:ext>
            </a:extLst>
          </p:cNvPr>
          <p:cNvSpPr txBox="1"/>
          <p:nvPr/>
        </p:nvSpPr>
        <p:spPr>
          <a:xfrm>
            <a:off x="1922367" y="3487969"/>
            <a:ext cx="3789218" cy="307777"/>
          </a:xfrm>
          <a:prstGeom prst="rect">
            <a:avLst/>
          </a:prstGeom>
          <a:noFill/>
        </p:spPr>
        <p:txBody>
          <a:bodyPr wrap="square">
            <a:spAutoFit/>
          </a:bodyPr>
          <a:lstStyle/>
          <a:p>
            <a:r>
              <a:rPr lang="en-US" b="0" i="0">
                <a:solidFill>
                  <a:srgbClr val="000000"/>
                </a:solidFill>
                <a:effectLst/>
                <a:latin typeface="Times"/>
              </a:rPr>
              <a:t> </a:t>
            </a:r>
            <a:endParaRPr lang="en-US"/>
          </a:p>
        </p:txBody>
      </p:sp>
      <p:sp>
        <p:nvSpPr>
          <p:cNvPr id="10" name="Rechteck 1">
            <a:extLst>
              <a:ext uri="{FF2B5EF4-FFF2-40B4-BE49-F238E27FC236}">
                <a16:creationId xmlns:a16="http://schemas.microsoft.com/office/drawing/2014/main" id="{5C581626-78E0-BB06-55E8-169DD891BA91}"/>
              </a:ext>
            </a:extLst>
          </p:cNvPr>
          <p:cNvSpPr/>
          <p:nvPr/>
        </p:nvSpPr>
        <p:spPr>
          <a:xfrm>
            <a:off x="987575" y="2083441"/>
            <a:ext cx="5812060" cy="1906013"/>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i="0">
                <a:solidFill>
                  <a:srgbClr val="000000"/>
                </a:solidFill>
                <a:effectLst/>
                <a:latin typeface="Times"/>
              </a:rPr>
              <a:t> </a:t>
            </a:r>
            <a:endParaRPr lang="de-DE"/>
          </a:p>
        </p:txBody>
      </p:sp>
      <p:sp>
        <p:nvSpPr>
          <p:cNvPr id="11" name="TextBox 10">
            <a:extLst>
              <a:ext uri="{FF2B5EF4-FFF2-40B4-BE49-F238E27FC236}">
                <a16:creationId xmlns:a16="http://schemas.microsoft.com/office/drawing/2014/main" id="{8351E434-CBB7-9BE3-E066-0BD68D4F6C83}"/>
              </a:ext>
            </a:extLst>
          </p:cNvPr>
          <p:cNvSpPr txBox="1"/>
          <p:nvPr/>
        </p:nvSpPr>
        <p:spPr>
          <a:xfrm>
            <a:off x="1335496" y="2210025"/>
            <a:ext cx="5223164" cy="307777"/>
          </a:xfrm>
          <a:prstGeom prst="rect">
            <a:avLst/>
          </a:prstGeom>
          <a:noFill/>
        </p:spPr>
        <p:txBody>
          <a:bodyPr wrap="square" rtlCol="0">
            <a:spAutoFit/>
          </a:bodyPr>
          <a:lstStyle/>
          <a:p>
            <a:r>
              <a:rPr lang="en-US" b="1"/>
              <a:t>Material you will need for the experiment</a:t>
            </a:r>
          </a:p>
        </p:txBody>
      </p:sp>
      <p:sp>
        <p:nvSpPr>
          <p:cNvPr id="12" name="TextBox 11">
            <a:extLst>
              <a:ext uri="{FF2B5EF4-FFF2-40B4-BE49-F238E27FC236}">
                <a16:creationId xmlns:a16="http://schemas.microsoft.com/office/drawing/2014/main" id="{9E91C868-513E-7E05-6713-EC353DEE650A}"/>
              </a:ext>
            </a:extLst>
          </p:cNvPr>
          <p:cNvSpPr txBox="1"/>
          <p:nvPr/>
        </p:nvSpPr>
        <p:spPr>
          <a:xfrm>
            <a:off x="1335496" y="2588769"/>
            <a:ext cx="2643033" cy="1160702"/>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1 empty 2 liter soda bottle</a:t>
            </a:r>
          </a:p>
          <a:p>
            <a:pPr marL="285750" indent="-285750">
              <a:buFont typeface="Arial" panose="020B0604020202020204" pitchFamily="34" charset="0"/>
              <a:buChar char="•"/>
            </a:pPr>
            <a:r>
              <a:rPr lang="en-US" sz="1157">
                <a:solidFill>
                  <a:schemeClr val="dk1"/>
                </a:solidFill>
                <a:latin typeface="Sofia Sans"/>
                <a:sym typeface="Sofia Sans"/>
              </a:rPr>
              <a:t>1 ruler</a:t>
            </a:r>
          </a:p>
          <a:p>
            <a:pPr marL="285750" indent="-285750">
              <a:buFont typeface="Arial" panose="020B0604020202020204" pitchFamily="34" charset="0"/>
              <a:buChar char="•"/>
            </a:pPr>
            <a:r>
              <a:rPr lang="en-US" sz="1157">
                <a:solidFill>
                  <a:schemeClr val="dk1"/>
                </a:solidFill>
                <a:latin typeface="Sofia Sans"/>
                <a:sym typeface="Sofia Sans"/>
              </a:rPr>
              <a:t>1 push pin</a:t>
            </a:r>
          </a:p>
          <a:p>
            <a:pPr marL="285750" indent="-285750">
              <a:buFont typeface="Arial" panose="020B0604020202020204" pitchFamily="34" charset="0"/>
              <a:buChar char="•"/>
            </a:pPr>
            <a:r>
              <a:rPr lang="en-US" sz="1157">
                <a:solidFill>
                  <a:schemeClr val="dk1"/>
                </a:solidFill>
                <a:latin typeface="Sofia Sans"/>
                <a:sym typeface="Sofia Sans"/>
              </a:rPr>
              <a:t>Duct tape </a:t>
            </a:r>
          </a:p>
          <a:p>
            <a:pPr marL="285750" indent="-285750">
              <a:buFont typeface="Arial" panose="020B0604020202020204" pitchFamily="34" charset="0"/>
              <a:buChar char="•"/>
            </a:pPr>
            <a:r>
              <a:rPr lang="en-US" sz="1157">
                <a:solidFill>
                  <a:schemeClr val="dk1"/>
                </a:solidFill>
                <a:latin typeface="Sofia Sans"/>
                <a:sym typeface="Sofia Sans"/>
              </a:rPr>
              <a:t>1 shallow tray or container to catch water</a:t>
            </a:r>
          </a:p>
        </p:txBody>
      </p:sp>
      <p:grpSp>
        <p:nvGrpSpPr>
          <p:cNvPr id="14" name="Gruppieren 14">
            <a:extLst>
              <a:ext uri="{FF2B5EF4-FFF2-40B4-BE49-F238E27FC236}">
                <a16:creationId xmlns:a16="http://schemas.microsoft.com/office/drawing/2014/main" id="{D4135B42-D595-FC5E-CA8B-7EA5AAF12B0A}"/>
              </a:ext>
            </a:extLst>
          </p:cNvPr>
          <p:cNvGrpSpPr/>
          <p:nvPr/>
        </p:nvGrpSpPr>
        <p:grpSpPr>
          <a:xfrm>
            <a:off x="6488349" y="1790391"/>
            <a:ext cx="552214" cy="545182"/>
            <a:chOff x="6140368" y="3097012"/>
            <a:chExt cx="631497" cy="631501"/>
          </a:xfrm>
        </p:grpSpPr>
        <p:sp>
          <p:nvSpPr>
            <p:cNvPr id="16" name="Ellipse 12">
              <a:extLst>
                <a:ext uri="{FF2B5EF4-FFF2-40B4-BE49-F238E27FC236}">
                  <a16:creationId xmlns:a16="http://schemas.microsoft.com/office/drawing/2014/main" id="{F719F7BA-1C2E-23EE-3723-F804101E7B7B}"/>
                </a:ext>
              </a:extLst>
            </p:cNvPr>
            <p:cNvSpPr>
              <a:spLocks noChangeAspect="1"/>
            </p:cNvSpPr>
            <p:nvPr/>
          </p:nvSpPr>
          <p:spPr>
            <a:xfrm>
              <a:off x="6140368" y="3097012"/>
              <a:ext cx="631497" cy="631501"/>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3" descr="Inventar mit einfarbiger Füllung">
              <a:extLst>
                <a:ext uri="{FF2B5EF4-FFF2-40B4-BE49-F238E27FC236}">
                  <a16:creationId xmlns:a16="http://schemas.microsoft.com/office/drawing/2014/main" id="{A7C54DDE-A634-9864-7142-38411CDA90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41840" y="3198483"/>
              <a:ext cx="457200" cy="457200"/>
            </a:xfrm>
            <a:prstGeom prst="rect">
              <a:avLst/>
            </a:prstGeom>
          </p:spPr>
        </p:pic>
      </p:grpSp>
      <p:sp>
        <p:nvSpPr>
          <p:cNvPr id="21" name="TextBox 20">
            <a:extLst>
              <a:ext uri="{FF2B5EF4-FFF2-40B4-BE49-F238E27FC236}">
                <a16:creationId xmlns:a16="http://schemas.microsoft.com/office/drawing/2014/main" id="{7B9B5CC7-ED72-B9BE-70AF-B4DB83E3787C}"/>
              </a:ext>
            </a:extLst>
          </p:cNvPr>
          <p:cNvSpPr txBox="1"/>
          <p:nvPr/>
        </p:nvSpPr>
        <p:spPr>
          <a:xfrm>
            <a:off x="1306486" y="1360012"/>
            <a:ext cx="3789946" cy="323165"/>
          </a:xfrm>
          <a:prstGeom prst="rect">
            <a:avLst/>
          </a:prstGeom>
          <a:noFill/>
        </p:spPr>
        <p:txBody>
          <a:bodyPr wrap="square">
            <a:spAutoFit/>
          </a:bodyPr>
          <a:lstStyle/>
          <a:p>
            <a:r>
              <a:rPr lang="en-US" sz="1500" b="1">
                <a:solidFill>
                  <a:srgbClr val="4E749C"/>
                </a:solidFill>
                <a:latin typeface="Epilogue" panose="020B0604020202020204" charset="0"/>
                <a:cs typeface="Epilogue" panose="020B0604020202020204" charset="0"/>
              </a:rPr>
              <a:t>Experiment  </a:t>
            </a:r>
          </a:p>
        </p:txBody>
      </p:sp>
      <p:sp>
        <p:nvSpPr>
          <p:cNvPr id="2" name="Ellipse 7">
            <a:extLst>
              <a:ext uri="{FF2B5EF4-FFF2-40B4-BE49-F238E27FC236}">
                <a16:creationId xmlns:a16="http://schemas.microsoft.com/office/drawing/2014/main" id="{68933CC0-8312-2CE2-E818-E305188AC1AD}"/>
              </a:ext>
            </a:extLst>
          </p:cNvPr>
          <p:cNvSpPr>
            <a:spLocks noChangeAspect="1"/>
          </p:cNvSpPr>
          <p:nvPr/>
        </p:nvSpPr>
        <p:spPr>
          <a:xfrm>
            <a:off x="758286" y="1277938"/>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30" descr="Lupe mit einfarbiger Füllung">
            <a:extLst>
              <a:ext uri="{FF2B5EF4-FFF2-40B4-BE49-F238E27FC236}">
                <a16:creationId xmlns:a16="http://schemas.microsoft.com/office/drawing/2014/main" id="{C4403812-FA48-7150-6C1E-605A2E6695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6359" y="1341618"/>
            <a:ext cx="333865" cy="333865"/>
          </a:xfrm>
          <a:prstGeom prst="rect">
            <a:avLst/>
          </a:prstGeom>
        </p:spPr>
      </p:pic>
      <p:sp>
        <p:nvSpPr>
          <p:cNvPr id="5" name="TextBox 11">
            <a:extLst>
              <a:ext uri="{FF2B5EF4-FFF2-40B4-BE49-F238E27FC236}">
                <a16:creationId xmlns:a16="http://schemas.microsoft.com/office/drawing/2014/main" id="{EF21C773-4767-591B-0DE9-FCEE0C665C9F}"/>
              </a:ext>
            </a:extLst>
          </p:cNvPr>
          <p:cNvSpPr txBox="1"/>
          <p:nvPr/>
        </p:nvSpPr>
        <p:spPr>
          <a:xfrm>
            <a:off x="3774915" y="2598460"/>
            <a:ext cx="2643033" cy="1160702"/>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3 drinking straws (preferably wide)</a:t>
            </a:r>
          </a:p>
          <a:p>
            <a:pPr marL="285750" indent="-285750">
              <a:buFont typeface="Arial" panose="020B0604020202020204" pitchFamily="34" charset="0"/>
              <a:buChar char="•"/>
            </a:pPr>
            <a:r>
              <a:rPr lang="en-US" sz="1157">
                <a:solidFill>
                  <a:schemeClr val="dk1"/>
                </a:solidFill>
                <a:latin typeface="Sofia Sans"/>
                <a:sym typeface="Sofia Sans"/>
              </a:rPr>
              <a:t>Permanent marker</a:t>
            </a:r>
          </a:p>
          <a:p>
            <a:pPr marL="285750" indent="-285750">
              <a:buFont typeface="Arial" panose="020B0604020202020204" pitchFamily="34" charset="0"/>
              <a:buChar char="•"/>
            </a:pPr>
            <a:r>
              <a:rPr lang="en-US" sz="1157">
                <a:solidFill>
                  <a:schemeClr val="dk1"/>
                </a:solidFill>
                <a:latin typeface="Sofia Sans"/>
                <a:sym typeface="Sofia Sans"/>
              </a:rPr>
              <a:t>Water supply</a:t>
            </a:r>
          </a:p>
          <a:p>
            <a:pPr marL="285750" indent="-285750">
              <a:buFont typeface="Arial" panose="020B0604020202020204" pitchFamily="34" charset="0"/>
              <a:buChar char="•"/>
            </a:pPr>
            <a:r>
              <a:rPr lang="en-US" sz="1157">
                <a:solidFill>
                  <a:schemeClr val="dk1"/>
                </a:solidFill>
                <a:latin typeface="Sofia Sans"/>
                <a:sym typeface="Sofia Sans"/>
              </a:rPr>
              <a:t>Small objects to create obstacles (e.g., cotton balls, sponge pieces, or crumpled paper)</a:t>
            </a:r>
          </a:p>
        </p:txBody>
      </p:sp>
    </p:spTree>
    <p:extLst>
      <p:ext uri="{BB962C8B-B14F-4D97-AF65-F5344CB8AC3E}">
        <p14:creationId xmlns:p14="http://schemas.microsoft.com/office/powerpoint/2010/main" val="23144721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AC513-35C0-C3E5-2878-BE07C3238C42}"/>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2E7CD537-D863-EF7E-2ED2-86EDDB7895C5}"/>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57</a:t>
            </a:fld>
            <a:endParaRPr lang="de-DE"/>
          </a:p>
        </p:txBody>
      </p:sp>
      <p:sp>
        <p:nvSpPr>
          <p:cNvPr id="13" name="Untertitel 2">
            <a:extLst>
              <a:ext uri="{FF2B5EF4-FFF2-40B4-BE49-F238E27FC236}">
                <a16:creationId xmlns:a16="http://schemas.microsoft.com/office/drawing/2014/main" id="{6914F364-9B95-849A-9822-2C256B1810A3}"/>
              </a:ext>
            </a:extLst>
          </p:cNvPr>
          <p:cNvSpPr>
            <a:spLocks noGrp="1"/>
          </p:cNvSpPr>
          <p:nvPr>
            <p:ph type="subTitle" idx="1"/>
          </p:nvPr>
        </p:nvSpPr>
        <p:spPr>
          <a:xfrm>
            <a:off x="736556" y="1304066"/>
            <a:ext cx="5919009" cy="1403390"/>
          </a:xfrm>
        </p:spPr>
        <p:txBody>
          <a:bodyPr/>
          <a:lstStyle/>
          <a:p>
            <a:pPr marL="368300" indent="-228600">
              <a:buClr>
                <a:srgbClr val="4E749C"/>
              </a:buClr>
              <a:buFont typeface="+mj-lt"/>
              <a:buAutoNum type="arabicPeriod" startAt="5"/>
            </a:pPr>
            <a:r>
              <a:rPr lang="en-US" sz="1200"/>
              <a:t>Repeat the experiment and measure the new distance of the water path. Record the data.</a:t>
            </a:r>
          </a:p>
          <a:p>
            <a:pPr marL="368300" indent="-228600">
              <a:buClr>
                <a:srgbClr val="4E749C"/>
              </a:buClr>
              <a:buFont typeface="+mj-lt"/>
              <a:buAutoNum type="arabicPeriod" startAt="5"/>
            </a:pPr>
            <a:r>
              <a:rPr lang="en-US" sz="1200"/>
              <a:t>Test additional obstacles (e.g.  sponge pieces, crumpled paper). Perform the same steps and record the distance for each.</a:t>
            </a:r>
          </a:p>
          <a:p>
            <a:pPr marL="368300" indent="-228600">
              <a:buClr>
                <a:srgbClr val="4E749C"/>
              </a:buClr>
              <a:buFont typeface="+mj-lt"/>
              <a:buAutoNum type="arabicPeriod" startAt="5"/>
            </a:pPr>
            <a:r>
              <a:rPr lang="en-US" sz="1200"/>
              <a:t>Repeat the tests for water levels of 10 cm and 5 cm to observe the effect of both obstacles and water volume on the distance of the water path.</a:t>
            </a:r>
          </a:p>
        </p:txBody>
      </p:sp>
      <p:graphicFrame>
        <p:nvGraphicFramePr>
          <p:cNvPr id="7" name="Google Shape;630;p38">
            <a:extLst>
              <a:ext uri="{FF2B5EF4-FFF2-40B4-BE49-F238E27FC236}">
                <a16:creationId xmlns:a16="http://schemas.microsoft.com/office/drawing/2014/main" id="{30DB5B90-CEF0-3BE8-0D4B-4D84042420FC}"/>
              </a:ext>
            </a:extLst>
          </p:cNvPr>
          <p:cNvGraphicFramePr/>
          <p:nvPr>
            <p:extLst>
              <p:ext uri="{D42A27DB-BD31-4B8C-83A1-F6EECF244321}">
                <p14:modId xmlns:p14="http://schemas.microsoft.com/office/powerpoint/2010/main" val="817793201"/>
              </p:ext>
            </p:extLst>
          </p:nvPr>
        </p:nvGraphicFramePr>
        <p:xfrm>
          <a:off x="915967" y="5588317"/>
          <a:ext cx="5919008" cy="3429887"/>
        </p:xfrm>
        <a:graphic>
          <a:graphicData uri="http://schemas.openxmlformats.org/drawingml/2006/table">
            <a:tbl>
              <a:tblPr>
                <a:noFill/>
                <a:tableStyleId>{F0CFADBD-3245-443C-9B6D-9ACBA4CA32A5}</a:tableStyleId>
              </a:tblPr>
              <a:tblGrid>
                <a:gridCol w="865104">
                  <a:extLst>
                    <a:ext uri="{9D8B030D-6E8A-4147-A177-3AD203B41FA5}">
                      <a16:colId xmlns:a16="http://schemas.microsoft.com/office/drawing/2014/main" val="20000"/>
                    </a:ext>
                  </a:extLst>
                </a:gridCol>
                <a:gridCol w="865104">
                  <a:extLst>
                    <a:ext uri="{9D8B030D-6E8A-4147-A177-3AD203B41FA5}">
                      <a16:colId xmlns:a16="http://schemas.microsoft.com/office/drawing/2014/main" val="4260952865"/>
                    </a:ext>
                  </a:extLst>
                </a:gridCol>
                <a:gridCol w="1047200">
                  <a:extLst>
                    <a:ext uri="{9D8B030D-6E8A-4147-A177-3AD203B41FA5}">
                      <a16:colId xmlns:a16="http://schemas.microsoft.com/office/drawing/2014/main" val="20001"/>
                    </a:ext>
                  </a:extLst>
                </a:gridCol>
                <a:gridCol w="1047200">
                  <a:extLst>
                    <a:ext uri="{9D8B030D-6E8A-4147-A177-3AD203B41FA5}">
                      <a16:colId xmlns:a16="http://schemas.microsoft.com/office/drawing/2014/main" val="20002"/>
                    </a:ext>
                  </a:extLst>
                </a:gridCol>
                <a:gridCol w="1047200">
                  <a:extLst>
                    <a:ext uri="{9D8B030D-6E8A-4147-A177-3AD203B41FA5}">
                      <a16:colId xmlns:a16="http://schemas.microsoft.com/office/drawing/2014/main" val="1787064771"/>
                    </a:ext>
                  </a:extLst>
                </a:gridCol>
                <a:gridCol w="1047200">
                  <a:extLst>
                    <a:ext uri="{9D8B030D-6E8A-4147-A177-3AD203B41FA5}">
                      <a16:colId xmlns:a16="http://schemas.microsoft.com/office/drawing/2014/main" val="3646388110"/>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Water Level</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ES" sz="1000" b="1" err="1">
                          <a:solidFill>
                            <a:schemeClr val="dk1"/>
                          </a:solidFill>
                          <a:latin typeface="Epilogue"/>
                          <a:ea typeface="Epilogue"/>
                          <a:cs typeface="Epilogue"/>
                          <a:sym typeface="Epilogue"/>
                        </a:rPr>
                        <a:t>Obstacle</a:t>
                      </a:r>
                      <a:endParaRPr sz="1000" b="1">
                        <a:solidFill>
                          <a:schemeClr val="dk1"/>
                        </a:solidFill>
                        <a:latin typeface="Epilogue"/>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Trial 1</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Trial 2</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ES" sz="1000" b="1">
                          <a:solidFill>
                            <a:schemeClr val="dk1"/>
                          </a:solidFill>
                          <a:latin typeface="Epilogue"/>
                          <a:ea typeface="Epilogue"/>
                          <a:cs typeface="Epilogue"/>
                          <a:sym typeface="Epilogue"/>
                        </a:rPr>
                        <a:t>Trial 3</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ES" sz="1000" b="1" err="1">
                          <a:solidFill>
                            <a:schemeClr val="dk1"/>
                          </a:solidFill>
                          <a:latin typeface="Epilogue"/>
                          <a:ea typeface="Epilogue"/>
                          <a:cs typeface="Epilogue"/>
                          <a:sym typeface="Epilogue"/>
                        </a:rPr>
                        <a:t>Average</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5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No Obstacle</a:t>
                      </a: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5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Type of Obstacle 1</a:t>
                      </a: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5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1">
                          <a:solidFill>
                            <a:schemeClr val="dk1"/>
                          </a:solidFill>
                          <a:latin typeface="Sofia Sans"/>
                          <a:ea typeface="Sofia Sans"/>
                          <a:cs typeface="Sofia Sans"/>
                          <a:sym typeface="Sofia Sans"/>
                        </a:rPr>
                        <a:t>Type of Obstacle 2</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7029317"/>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0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No Obstacle</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59263953"/>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0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Type of Obstacle 1</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209956137"/>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0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1">
                          <a:solidFill>
                            <a:schemeClr val="dk1"/>
                          </a:solidFill>
                          <a:latin typeface="Sofia Sans"/>
                          <a:ea typeface="Sofia Sans"/>
                          <a:cs typeface="Sofia Sans"/>
                          <a:sym typeface="Sofia Sans"/>
                        </a:rPr>
                        <a:t>Type of Obstacle 2</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lang="es-ES"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20244268"/>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5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No Obstacle</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4278974309"/>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5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Type of Obstacle 1</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966406359"/>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5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1">
                          <a:solidFill>
                            <a:schemeClr val="dk1"/>
                          </a:solidFill>
                          <a:latin typeface="Sofia Sans"/>
                          <a:ea typeface="Sofia Sans"/>
                          <a:cs typeface="Sofia Sans"/>
                          <a:sym typeface="Sofia Sans"/>
                        </a:rPr>
                        <a:t>Type of Obstacle 2</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042078491"/>
                  </a:ext>
                </a:extLst>
              </a:tr>
            </a:tbl>
          </a:graphicData>
        </a:graphic>
      </p:graphicFrame>
      <p:pic>
        <p:nvPicPr>
          <p:cNvPr id="9" name="Picture 8" descr="A drawing of a bottle&#10;&#10;Description automatically generated">
            <a:extLst>
              <a:ext uri="{FF2B5EF4-FFF2-40B4-BE49-F238E27FC236}">
                <a16:creationId xmlns:a16="http://schemas.microsoft.com/office/drawing/2014/main" id="{A6023CCB-63A6-880E-8C5A-C2D17D94FA0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1426" b="94043" l="38965" r="66504">
                        <a14:foregroundMark x1="46387" y1="91113" x2="49805" y2="27344"/>
                        <a14:foregroundMark x1="58496" y1="33691" x2="62109" y2="82227"/>
                        <a14:foregroundMark x1="62109" y1="82227" x2="58887" y2="90039"/>
                        <a14:foregroundMark x1="58887" y1="90039" x2="51758" y2="92480"/>
                        <a14:foregroundMark x1="51758" y1="92480" x2="49805" y2="92480"/>
                        <a14:foregroundMark x1="50195" y1="11523" x2="54297" y2="11914"/>
                        <a14:foregroundMark x1="46094" y1="94043" x2="46094" y2="94043"/>
                        <a14:foregroundMark x1="57813" y1="93359" x2="57813" y2="93359"/>
                        <a14:foregroundMark x1="59766" y1="92773" x2="59766" y2="92773"/>
                        <a14:foregroundMark x1="63477" y1="92773" x2="65137" y2="74121"/>
                        <a14:foregroundMark x1="66211" y1="79297" x2="66211" y2="79297"/>
                        <a14:foregroundMark x1="66406" y1="79004" x2="66504" y2="78125"/>
                      </a14:backgroundRemoval>
                    </a14:imgEffect>
                  </a14:imgLayer>
                </a14:imgProps>
              </a:ext>
            </a:extLst>
          </a:blip>
          <a:srcRect l="35724" t="2491" r="30942" b="2713"/>
          <a:stretch/>
        </p:blipFill>
        <p:spPr>
          <a:xfrm>
            <a:off x="1898381" y="3081199"/>
            <a:ext cx="780371" cy="2219283"/>
          </a:xfrm>
          <a:prstGeom prst="rect">
            <a:avLst/>
          </a:prstGeom>
        </p:spPr>
      </p:pic>
      <p:pic>
        <p:nvPicPr>
          <p:cNvPr id="20" name="Picture 19" descr="A straw with a thin tip&#10;&#10;Description automatically generated">
            <a:extLst>
              <a:ext uri="{FF2B5EF4-FFF2-40B4-BE49-F238E27FC236}">
                <a16:creationId xmlns:a16="http://schemas.microsoft.com/office/drawing/2014/main" id="{F1E5A7F2-5B42-CD81-0B6A-211C2E21E8A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571" b="91286" l="10000" r="90000">
                        <a14:foregroundMark x1="63714" y1="8857" x2="63714" y2="8857"/>
                        <a14:foregroundMark x1="66286" y1="4714" x2="66286" y2="4714"/>
                        <a14:foregroundMark x1="32143" y1="91286" x2="32143" y2="91286"/>
                      </a14:backgroundRemoval>
                    </a14:imgEffect>
                  </a14:imgLayer>
                </a14:imgProps>
              </a:ext>
            </a:extLst>
          </a:blip>
          <a:srcRect l="24460" t="3043" r="26216" b="4223"/>
          <a:stretch/>
        </p:blipFill>
        <p:spPr>
          <a:xfrm>
            <a:off x="2992737" y="2923162"/>
            <a:ext cx="1180402" cy="2219283"/>
          </a:xfrm>
          <a:prstGeom prst="rect">
            <a:avLst/>
          </a:prstGeom>
        </p:spPr>
      </p:pic>
      <p:pic>
        <p:nvPicPr>
          <p:cNvPr id="22" name="Picture 21" descr="A straw with a thin tip&#10;&#10;Description automatically generated">
            <a:extLst>
              <a:ext uri="{FF2B5EF4-FFF2-40B4-BE49-F238E27FC236}">
                <a16:creationId xmlns:a16="http://schemas.microsoft.com/office/drawing/2014/main" id="{4B6BD273-36F5-DF80-6B68-FF63E4304C6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571" b="91286" l="10000" r="90000">
                        <a14:foregroundMark x1="63714" y1="8857" x2="63714" y2="8857"/>
                        <a14:foregroundMark x1="66286" y1="4714" x2="66286" y2="4714"/>
                        <a14:foregroundMark x1="32143" y1="91286" x2="32143" y2="91286"/>
                      </a14:backgroundRemoval>
                    </a14:imgEffect>
                  </a14:imgLayer>
                </a14:imgProps>
              </a:ext>
            </a:extLst>
          </a:blip>
          <a:srcRect l="24460" t="3043" r="26216" b="4223"/>
          <a:stretch/>
        </p:blipFill>
        <p:spPr>
          <a:xfrm>
            <a:off x="3145137" y="3075562"/>
            <a:ext cx="1180402" cy="2219283"/>
          </a:xfrm>
          <a:prstGeom prst="rect">
            <a:avLst/>
          </a:prstGeom>
        </p:spPr>
      </p:pic>
      <p:pic>
        <p:nvPicPr>
          <p:cNvPr id="23" name="Picture 22" descr="A straw with a thin tip&#10;&#10;Description automatically generated">
            <a:extLst>
              <a:ext uri="{FF2B5EF4-FFF2-40B4-BE49-F238E27FC236}">
                <a16:creationId xmlns:a16="http://schemas.microsoft.com/office/drawing/2014/main" id="{158F19C4-7B48-D4E0-61F3-85E18031E8C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571" b="91286" l="10000" r="90000">
                        <a14:foregroundMark x1="63714" y1="8857" x2="63714" y2="8857"/>
                        <a14:foregroundMark x1="66286" y1="4714" x2="66286" y2="4714"/>
                        <a14:foregroundMark x1="32143" y1="91286" x2="32143" y2="91286"/>
                      </a14:backgroundRemoval>
                    </a14:imgEffect>
                  </a14:imgLayer>
                </a14:imgProps>
              </a:ext>
            </a:extLst>
          </a:blip>
          <a:srcRect l="24460" t="3043" r="26216" b="4223"/>
          <a:stretch/>
        </p:blipFill>
        <p:spPr>
          <a:xfrm>
            <a:off x="3297537" y="3227962"/>
            <a:ext cx="1180402" cy="2219283"/>
          </a:xfrm>
          <a:prstGeom prst="rect">
            <a:avLst/>
          </a:prstGeom>
        </p:spPr>
      </p:pic>
      <p:pic>
        <p:nvPicPr>
          <p:cNvPr id="27" name="Picture 26" descr="A close-up of a piece of aluminum foil&#10;&#10;Description automatically generated">
            <a:extLst>
              <a:ext uri="{FF2B5EF4-FFF2-40B4-BE49-F238E27FC236}">
                <a16:creationId xmlns:a16="http://schemas.microsoft.com/office/drawing/2014/main" id="{FDC5BC07-9186-728B-4A6E-5008290071ED}"/>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foregroundMark x1="24846" y1="43305" x2="22846" y2="41213"/>
                        <a14:backgroundMark x1="22308" y1="54812" x2="22308" y2="54812"/>
                        <a14:backgroundMark x1="30231" y1="68724" x2="30231" y2="68724"/>
                      </a14:backgroundRemoval>
                    </a14:imgEffect>
                  </a14:imgLayer>
                </a14:imgProps>
              </a:ext>
            </a:extLst>
          </a:blip>
          <a:srcRect l="19479" t="16118" r="36162" b="23620"/>
          <a:stretch/>
        </p:blipFill>
        <p:spPr>
          <a:xfrm>
            <a:off x="4310901" y="3922858"/>
            <a:ext cx="525203" cy="524690"/>
          </a:xfrm>
          <a:prstGeom prst="rect">
            <a:avLst/>
          </a:prstGeom>
        </p:spPr>
      </p:pic>
      <p:pic>
        <p:nvPicPr>
          <p:cNvPr id="29" name="Picture 28" descr="A white cotton balls on a gray background&#10;&#10;Description automatically generated">
            <a:extLst>
              <a:ext uri="{FF2B5EF4-FFF2-40B4-BE49-F238E27FC236}">
                <a16:creationId xmlns:a16="http://schemas.microsoft.com/office/drawing/2014/main" id="{521F7085-C9A6-DDDD-EE5A-34FDA3D7DBB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backgroundMark x1="15893" y1="35893" x2="36429" y2="21964"/>
                        <a14:backgroundMark x1="36429" y1="21964" x2="37857" y2="19643"/>
                        <a14:backgroundMark x1="56786" y1="76071" x2="65893" y2="70893"/>
                        <a14:backgroundMark x1="43393" y1="69821" x2="44821" y2="71071"/>
                        <a14:backgroundMark x1="66250" y1="60179" x2="66607" y2="58036"/>
                        <a14:backgroundMark x1="66964" y1="56429" x2="67321" y2="54821"/>
                        <a14:backgroundMark x1="64821" y1="54821" x2="63929" y2="55714"/>
                        <a14:backgroundMark x1="62500" y1="55357" x2="62500" y2="55357"/>
                        <a14:backgroundMark x1="62857" y1="55357" x2="62500" y2="55893"/>
                        <a14:backgroundMark x1="41071" y1="63036" x2="41071" y2="63036"/>
                      </a14:backgroundRemoval>
                    </a14:imgEffect>
                  </a14:imgLayer>
                </a14:imgProps>
              </a:ext>
            </a:extLst>
          </a:blip>
          <a:srcRect l="10539" t="18411" r="11013" b="20136"/>
          <a:stretch/>
        </p:blipFill>
        <p:spPr>
          <a:xfrm>
            <a:off x="4507494" y="4289343"/>
            <a:ext cx="1364629" cy="1068994"/>
          </a:xfrm>
          <a:prstGeom prst="rect">
            <a:avLst/>
          </a:prstGeom>
        </p:spPr>
      </p:pic>
    </p:spTree>
    <p:extLst>
      <p:ext uri="{BB962C8B-B14F-4D97-AF65-F5344CB8AC3E}">
        <p14:creationId xmlns:p14="http://schemas.microsoft.com/office/powerpoint/2010/main" val="39287357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AB313-38AB-3C61-D859-59E0A23EB664}"/>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B0713B89-E735-EDA3-659B-D1D32E069B7B}"/>
              </a:ext>
            </a:extLst>
          </p:cNvPr>
          <p:cNvSpPr>
            <a:spLocks noGrp="1"/>
          </p:cNvSpPr>
          <p:nvPr>
            <p:ph type="sldNum" sz="quarter" idx="10"/>
          </p:nvPr>
        </p:nvSpPr>
        <p:spPr/>
        <p:txBody>
          <a:bodyPr/>
          <a:lstStyle/>
          <a:p>
            <a:fld id="{DF7F771E-9578-4C04-B869-01AF4C35C90C}" type="slidenum">
              <a:rPr lang="de-DE" smtClean="0"/>
              <a:t>58</a:t>
            </a:fld>
            <a:endParaRPr lang="de-DE"/>
          </a:p>
        </p:txBody>
      </p:sp>
      <p:sp>
        <p:nvSpPr>
          <p:cNvPr id="9" name="Rechteck 1">
            <a:extLst>
              <a:ext uri="{FF2B5EF4-FFF2-40B4-BE49-F238E27FC236}">
                <a16:creationId xmlns:a16="http://schemas.microsoft.com/office/drawing/2014/main" id="{D91F3A30-44CC-E8A1-DBFE-0335CFC11B16}"/>
              </a:ext>
            </a:extLst>
          </p:cNvPr>
          <p:cNvSpPr/>
          <p:nvPr/>
        </p:nvSpPr>
        <p:spPr>
          <a:xfrm>
            <a:off x="719138" y="1596646"/>
            <a:ext cx="5740172" cy="6963880"/>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330EC84E-5729-43E9-5C8E-822C5DAF4F8F}"/>
              </a:ext>
            </a:extLst>
          </p:cNvPr>
          <p:cNvSpPr>
            <a:spLocks noChangeAspect="1"/>
          </p:cNvSpPr>
          <p:nvPr/>
        </p:nvSpPr>
        <p:spPr>
          <a:xfrm>
            <a:off x="612923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1137686A-E45E-1B57-ACC9-547223C9BD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7085" y="1405785"/>
            <a:ext cx="404450" cy="404450"/>
          </a:xfrm>
          <a:prstGeom prst="rect">
            <a:avLst/>
          </a:prstGeom>
        </p:spPr>
      </p:pic>
      <p:sp>
        <p:nvSpPr>
          <p:cNvPr id="12" name="Untertitel 5">
            <a:extLst>
              <a:ext uri="{FF2B5EF4-FFF2-40B4-BE49-F238E27FC236}">
                <a16:creationId xmlns:a16="http://schemas.microsoft.com/office/drawing/2014/main" id="{0C1D6F9A-B616-7FC5-07F5-3D33DDC193F5}"/>
              </a:ext>
            </a:extLst>
          </p:cNvPr>
          <p:cNvSpPr txBox="1">
            <a:spLocks/>
          </p:cNvSpPr>
          <p:nvPr/>
        </p:nvSpPr>
        <p:spPr>
          <a:xfrm>
            <a:off x="796611" y="181023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2C88201C-4214-7868-4930-F1921AB93F76}"/>
              </a:ext>
            </a:extLst>
          </p:cNvPr>
          <p:cNvSpPr>
            <a:spLocks noGrp="1"/>
          </p:cNvSpPr>
          <p:nvPr>
            <p:ph type="subTitle" idx="1"/>
          </p:nvPr>
        </p:nvSpPr>
        <p:spPr>
          <a:xfrm>
            <a:off x="792169" y="2305775"/>
            <a:ext cx="5550265" cy="5787638"/>
          </a:xfrm>
        </p:spPr>
        <p:txBody>
          <a:bodyPr/>
          <a:lstStyle/>
          <a:p>
            <a:r>
              <a:rPr lang="en-US" sz="1200" b="1"/>
              <a:t>Effect of Obstacles on the Force of Water</a:t>
            </a:r>
          </a:p>
          <a:p>
            <a:endParaRPr lang="en-US" sz="1200" b="1"/>
          </a:p>
          <a:p>
            <a:r>
              <a:rPr lang="en-US" sz="1200" b="1"/>
              <a:t>Impact of Obstacles on Water Flow:</a:t>
            </a:r>
            <a:endParaRPr lang="en-US" sz="1200"/>
          </a:p>
          <a:p>
            <a:pPr marL="139700" indent="0"/>
            <a:r>
              <a:rPr lang="en-US" sz="1200"/>
              <a:t>Obstacles in the water path significantly disrupt the flow, reducing the speed and force of water. This mirrors how resistance impacts the efficiency of water energy systems and electrical circuits. Softer materials, such as cotton balls, absorb water and create the most significant disruption, whereas smoother obstacles, like aluminum balls, have a minimal effect, allowing water to pass around them.</a:t>
            </a:r>
          </a:p>
          <a:p>
            <a:pPr marL="139700" indent="0"/>
            <a:endParaRPr lang="en-US" sz="1200"/>
          </a:p>
          <a:p>
            <a:r>
              <a:rPr lang="en-US" sz="1200" b="1"/>
              <a:t>Influence of Water Volume on Flow Force:</a:t>
            </a:r>
            <a:endParaRPr lang="en-US" sz="1200"/>
          </a:p>
          <a:p>
            <a:pPr marL="139700" indent="0"/>
            <a:r>
              <a:rPr lang="en-US" sz="1200"/>
              <a:t>The higher the water level, the greater the pressure and force of the flow. This demonstrates the direct relationship between water volume and energy output in hydro systems, highlighting the importance of sufficient water availability for efficient energy generation.</a:t>
            </a:r>
          </a:p>
          <a:p>
            <a:pPr marL="139700" indent="0"/>
            <a:endParaRPr lang="en-US" sz="1200"/>
          </a:p>
          <a:p>
            <a:r>
              <a:rPr lang="en-US" sz="1200" b="1"/>
              <a:t>Experimental Observations:</a:t>
            </a:r>
            <a:endParaRPr lang="en-US" sz="1200"/>
          </a:p>
          <a:p>
            <a:pPr marL="139700" indent="0"/>
            <a:r>
              <a:rPr lang="en-US" sz="1200"/>
              <a:t>Combining varying water levels with different obstacles revealed that softer and more absorbent materials cause significant disruption compared to denser or smoother objects. The experiments underscored the importance of designing systems that minimize flow resistance to optimize energy output.</a:t>
            </a:r>
          </a:p>
          <a:p>
            <a:pPr marL="139700" indent="0"/>
            <a:endParaRPr lang="en-US" sz="1200"/>
          </a:p>
          <a:p>
            <a:r>
              <a:rPr lang="en-US" sz="1200" b="1"/>
              <a:t>Applications to Hydro Systems:</a:t>
            </a:r>
          </a:p>
          <a:p>
            <a:pPr marL="144000" indent="0"/>
            <a:r>
              <a:rPr lang="en-US" sz="1200"/>
              <a:t>This experiment illustrates the principles of flow resistance and water pressure, which are critical in designing and optimizing hydro turbines and energy systems. By understanding these dynamics, you can appreciate how real-world hydro systems must account for obstacles and maintain adequate water pressure to achieve efficient energy production.</a:t>
            </a:r>
          </a:p>
        </p:txBody>
      </p:sp>
    </p:spTree>
    <p:extLst>
      <p:ext uri="{BB962C8B-B14F-4D97-AF65-F5344CB8AC3E}">
        <p14:creationId xmlns:p14="http://schemas.microsoft.com/office/powerpoint/2010/main" val="36176048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A2B43-AADD-65F4-7248-6CC03D7E2D1D}"/>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0B1399D-80F0-141A-A22F-5A2760F12903}"/>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59</a:t>
            </a:fld>
            <a:endParaRPr lang="de-DE"/>
          </a:p>
        </p:txBody>
      </p:sp>
      <p:sp>
        <p:nvSpPr>
          <p:cNvPr id="19" name="TextBox 18">
            <a:extLst>
              <a:ext uri="{FF2B5EF4-FFF2-40B4-BE49-F238E27FC236}">
                <a16:creationId xmlns:a16="http://schemas.microsoft.com/office/drawing/2014/main" id="{3415AD27-395F-C565-4B34-30AE5DEBC25A}"/>
              </a:ext>
            </a:extLst>
          </p:cNvPr>
          <p:cNvSpPr txBox="1"/>
          <p:nvPr/>
        </p:nvSpPr>
        <p:spPr>
          <a:xfrm>
            <a:off x="739218" y="1277938"/>
            <a:ext cx="5906136" cy="523220"/>
          </a:xfrm>
          <a:prstGeom prst="rect">
            <a:avLst/>
          </a:prstGeom>
          <a:noFill/>
        </p:spPr>
        <p:txBody>
          <a:bodyPr wrap="square">
            <a:spAutoFit/>
          </a:bodyPr>
          <a:lstStyle/>
          <a:p>
            <a:r>
              <a:rPr lang="en-US" sz="2800" b="1">
                <a:latin typeface="Epilogue" panose="020B0604020202020204" charset="0"/>
                <a:cs typeface="Epilogue" panose="020B0604020202020204" charset="0"/>
              </a:rPr>
              <a:t>Hydro-energy Kit Overview</a:t>
            </a:r>
          </a:p>
        </p:txBody>
      </p:sp>
      <p:grpSp>
        <p:nvGrpSpPr>
          <p:cNvPr id="13" name="Group 12">
            <a:extLst>
              <a:ext uri="{FF2B5EF4-FFF2-40B4-BE49-F238E27FC236}">
                <a16:creationId xmlns:a16="http://schemas.microsoft.com/office/drawing/2014/main" id="{EC109228-688C-E6B2-CF66-0D9B10E51B00}"/>
              </a:ext>
            </a:extLst>
          </p:cNvPr>
          <p:cNvGrpSpPr/>
          <p:nvPr/>
        </p:nvGrpSpPr>
        <p:grpSpPr>
          <a:xfrm>
            <a:off x="997610" y="4684620"/>
            <a:ext cx="3050260" cy="2579999"/>
            <a:chOff x="691556" y="1723251"/>
            <a:chExt cx="3291897" cy="2855769"/>
          </a:xfrm>
        </p:grpSpPr>
        <p:pic>
          <p:nvPicPr>
            <p:cNvPr id="7" name="Picture 6" descr="A plastic and plastic objects&#10;&#10;Description automatically generated with medium confidence">
              <a:extLst>
                <a:ext uri="{FF2B5EF4-FFF2-40B4-BE49-F238E27FC236}">
                  <a16:creationId xmlns:a16="http://schemas.microsoft.com/office/drawing/2014/main" id="{3513E689-1007-B763-46D2-C999D6B571BD}"/>
                </a:ext>
              </a:extLst>
            </p:cNvPr>
            <p:cNvPicPr>
              <a:picLocks noChangeAspect="1"/>
            </p:cNvPicPr>
            <p:nvPr/>
          </p:nvPicPr>
          <p:blipFill>
            <a:blip r:embed="rId2"/>
            <a:srcRect t="16633" b="18303"/>
            <a:stretch/>
          </p:blipFill>
          <p:spPr>
            <a:xfrm>
              <a:off x="691556" y="1723251"/>
              <a:ext cx="3291897" cy="2855769"/>
            </a:xfrm>
            <a:prstGeom prst="rect">
              <a:avLst/>
            </a:prstGeom>
            <a:ln w="28575">
              <a:noFill/>
            </a:ln>
          </p:spPr>
        </p:pic>
        <p:sp>
          <p:nvSpPr>
            <p:cNvPr id="22" name="Rectangle 21">
              <a:extLst>
                <a:ext uri="{FF2B5EF4-FFF2-40B4-BE49-F238E27FC236}">
                  <a16:creationId xmlns:a16="http://schemas.microsoft.com/office/drawing/2014/main" id="{D4BA8A65-5AA5-E336-74E6-7985A39625B8}"/>
                </a:ext>
              </a:extLst>
            </p:cNvPr>
            <p:cNvSpPr/>
            <p:nvPr/>
          </p:nvSpPr>
          <p:spPr>
            <a:xfrm>
              <a:off x="1496271" y="4100945"/>
              <a:ext cx="223580" cy="23832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1</a:t>
              </a:r>
              <a:endParaRPr lang="en-US" b="1">
                <a:solidFill>
                  <a:srgbClr val="4E749C"/>
                </a:solidFill>
                <a:latin typeface="Sofia Sans" panose="020B0604020202020204" charset="0"/>
              </a:endParaRPr>
            </a:p>
          </p:txBody>
        </p:sp>
        <p:sp>
          <p:nvSpPr>
            <p:cNvPr id="23" name="Rectangle 22">
              <a:extLst>
                <a:ext uri="{FF2B5EF4-FFF2-40B4-BE49-F238E27FC236}">
                  <a16:creationId xmlns:a16="http://schemas.microsoft.com/office/drawing/2014/main" id="{0333FA4A-82FA-37C6-CD56-A84E824E0A3F}"/>
                </a:ext>
              </a:extLst>
            </p:cNvPr>
            <p:cNvSpPr/>
            <p:nvPr/>
          </p:nvSpPr>
          <p:spPr>
            <a:xfrm>
              <a:off x="3726853" y="2762154"/>
              <a:ext cx="223580" cy="23832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2</a:t>
              </a:r>
            </a:p>
          </p:txBody>
        </p:sp>
        <p:sp>
          <p:nvSpPr>
            <p:cNvPr id="24" name="Rectangle 23">
              <a:extLst>
                <a:ext uri="{FF2B5EF4-FFF2-40B4-BE49-F238E27FC236}">
                  <a16:creationId xmlns:a16="http://schemas.microsoft.com/office/drawing/2014/main" id="{661CE81D-A8D6-FDDC-4108-450E9B80774F}"/>
                </a:ext>
              </a:extLst>
            </p:cNvPr>
            <p:cNvSpPr/>
            <p:nvPr/>
          </p:nvSpPr>
          <p:spPr>
            <a:xfrm>
              <a:off x="2729326" y="2230582"/>
              <a:ext cx="223580" cy="23832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3</a:t>
              </a:r>
              <a:endParaRPr lang="en-US" b="1">
                <a:solidFill>
                  <a:srgbClr val="4E749C"/>
                </a:solidFill>
                <a:latin typeface="Sofia Sans" panose="020B0604020202020204" charset="0"/>
              </a:endParaRPr>
            </a:p>
          </p:txBody>
        </p:sp>
        <p:sp>
          <p:nvSpPr>
            <p:cNvPr id="25" name="Rectangle 24">
              <a:extLst>
                <a:ext uri="{FF2B5EF4-FFF2-40B4-BE49-F238E27FC236}">
                  <a16:creationId xmlns:a16="http://schemas.microsoft.com/office/drawing/2014/main" id="{6ACE9CED-F7A5-2EBF-21AC-998FB7899DA7}"/>
                </a:ext>
              </a:extLst>
            </p:cNvPr>
            <p:cNvSpPr/>
            <p:nvPr/>
          </p:nvSpPr>
          <p:spPr>
            <a:xfrm>
              <a:off x="2753486" y="2950877"/>
              <a:ext cx="223580" cy="23832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4</a:t>
              </a:r>
              <a:endParaRPr lang="en-US" b="1">
                <a:solidFill>
                  <a:srgbClr val="4E749C"/>
                </a:solidFill>
                <a:latin typeface="Sofia Sans" panose="020B0604020202020204" charset="0"/>
              </a:endParaRPr>
            </a:p>
          </p:txBody>
        </p:sp>
      </p:grpSp>
      <p:grpSp>
        <p:nvGrpSpPr>
          <p:cNvPr id="16" name="Group 15">
            <a:extLst>
              <a:ext uri="{FF2B5EF4-FFF2-40B4-BE49-F238E27FC236}">
                <a16:creationId xmlns:a16="http://schemas.microsoft.com/office/drawing/2014/main" id="{A02EE1AD-0F47-87C0-95B7-5B0DC9384C01}"/>
              </a:ext>
            </a:extLst>
          </p:cNvPr>
          <p:cNvGrpSpPr/>
          <p:nvPr/>
        </p:nvGrpSpPr>
        <p:grpSpPr>
          <a:xfrm>
            <a:off x="4580250" y="2175242"/>
            <a:ext cx="2019069" cy="716725"/>
            <a:chOff x="574469" y="4981503"/>
            <a:chExt cx="2179017" cy="793334"/>
          </a:xfrm>
        </p:grpSpPr>
        <p:pic>
          <p:nvPicPr>
            <p:cNvPr id="5" name="Picture 4" descr="A metal screw on a wood surface&#10;&#10;Description automatically generated">
              <a:extLst>
                <a:ext uri="{FF2B5EF4-FFF2-40B4-BE49-F238E27FC236}">
                  <a16:creationId xmlns:a16="http://schemas.microsoft.com/office/drawing/2014/main" id="{5ABEE8E8-DF3E-73FE-EB16-DAA078804F74}"/>
                </a:ext>
              </a:extLst>
            </p:cNvPr>
            <p:cNvPicPr>
              <a:picLocks noChangeAspect="1"/>
            </p:cNvPicPr>
            <p:nvPr/>
          </p:nvPicPr>
          <p:blipFill>
            <a:blip r:embed="rId3"/>
            <a:srcRect l="10437" t="33041" r="15376" b="51765"/>
            <a:stretch/>
          </p:blipFill>
          <p:spPr>
            <a:xfrm>
              <a:off x="574469" y="4981503"/>
              <a:ext cx="2179017" cy="793334"/>
            </a:xfrm>
            <a:prstGeom prst="rect">
              <a:avLst/>
            </a:prstGeom>
            <a:ln w="28575">
              <a:noFill/>
            </a:ln>
          </p:spPr>
        </p:pic>
        <p:sp>
          <p:nvSpPr>
            <p:cNvPr id="27" name="Rectangle 26">
              <a:extLst>
                <a:ext uri="{FF2B5EF4-FFF2-40B4-BE49-F238E27FC236}">
                  <a16:creationId xmlns:a16="http://schemas.microsoft.com/office/drawing/2014/main" id="{925353D3-4F90-B8D0-4BFA-FC0563F00767}"/>
                </a:ext>
              </a:extLst>
            </p:cNvPr>
            <p:cNvSpPr/>
            <p:nvPr/>
          </p:nvSpPr>
          <p:spPr>
            <a:xfrm>
              <a:off x="2262650" y="5504506"/>
              <a:ext cx="149708" cy="149748"/>
            </a:xfrm>
            <a:prstGeom prst="rect">
              <a:avLst/>
            </a:prstGeom>
            <a:solidFill>
              <a:srgbClr val="FFFFFF"/>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6</a:t>
              </a:r>
              <a:endParaRPr lang="en-US" b="1">
                <a:solidFill>
                  <a:srgbClr val="4E749C"/>
                </a:solidFill>
                <a:latin typeface="Sofia Sans" panose="020B0604020202020204" charset="0"/>
              </a:endParaRPr>
            </a:p>
          </p:txBody>
        </p:sp>
      </p:grpSp>
      <p:grpSp>
        <p:nvGrpSpPr>
          <p:cNvPr id="14" name="Group 13">
            <a:extLst>
              <a:ext uri="{FF2B5EF4-FFF2-40B4-BE49-F238E27FC236}">
                <a16:creationId xmlns:a16="http://schemas.microsoft.com/office/drawing/2014/main" id="{9B99A373-8CE7-AF25-4DBC-84B1016388AD}"/>
              </a:ext>
            </a:extLst>
          </p:cNvPr>
          <p:cNvGrpSpPr/>
          <p:nvPr/>
        </p:nvGrpSpPr>
        <p:grpSpPr>
          <a:xfrm>
            <a:off x="4580250" y="3064782"/>
            <a:ext cx="1556939" cy="2114748"/>
            <a:chOff x="5056177" y="1594041"/>
            <a:chExt cx="1943363" cy="2855768"/>
          </a:xfrm>
        </p:grpSpPr>
        <p:pic>
          <p:nvPicPr>
            <p:cNvPr id="3" name="Picture 2" descr="A circular object with wires&#10;&#10;Description automatically generated">
              <a:extLst>
                <a:ext uri="{FF2B5EF4-FFF2-40B4-BE49-F238E27FC236}">
                  <a16:creationId xmlns:a16="http://schemas.microsoft.com/office/drawing/2014/main" id="{7208C195-1E8F-5021-7A9D-47EE2B81C37D}"/>
                </a:ext>
              </a:extLst>
            </p:cNvPr>
            <p:cNvPicPr>
              <a:picLocks noChangeAspect="1"/>
            </p:cNvPicPr>
            <p:nvPr/>
          </p:nvPicPr>
          <p:blipFill>
            <a:blip r:embed="rId4"/>
            <a:srcRect l="18611" t="17051" r="7160" b="8916"/>
            <a:stretch/>
          </p:blipFill>
          <p:spPr>
            <a:xfrm>
              <a:off x="5056177" y="1594041"/>
              <a:ext cx="1943363" cy="2855768"/>
            </a:xfrm>
            <a:prstGeom prst="rect">
              <a:avLst/>
            </a:prstGeom>
            <a:ln w="28575">
              <a:noFill/>
            </a:ln>
          </p:spPr>
        </p:pic>
        <p:sp>
          <p:nvSpPr>
            <p:cNvPr id="26" name="Rectangle 25">
              <a:extLst>
                <a:ext uri="{FF2B5EF4-FFF2-40B4-BE49-F238E27FC236}">
                  <a16:creationId xmlns:a16="http://schemas.microsoft.com/office/drawing/2014/main" id="{1F5BA77D-FAA1-FCCE-7C4A-0603032E3E6B}"/>
                </a:ext>
              </a:extLst>
            </p:cNvPr>
            <p:cNvSpPr/>
            <p:nvPr/>
          </p:nvSpPr>
          <p:spPr>
            <a:xfrm>
              <a:off x="6065923" y="2663867"/>
              <a:ext cx="176349" cy="215668"/>
            </a:xfrm>
            <a:prstGeom prst="rect">
              <a:avLst/>
            </a:prstGeom>
            <a:solidFill>
              <a:srgbClr val="FFFFFF"/>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5</a:t>
              </a:r>
              <a:endParaRPr lang="en-US" b="1">
                <a:solidFill>
                  <a:srgbClr val="4E749C"/>
                </a:solidFill>
                <a:latin typeface="Sofia Sans" panose="020B0604020202020204" charset="0"/>
              </a:endParaRPr>
            </a:p>
          </p:txBody>
        </p:sp>
        <p:sp>
          <p:nvSpPr>
            <p:cNvPr id="6" name="Rectangle 5">
              <a:extLst>
                <a:ext uri="{FF2B5EF4-FFF2-40B4-BE49-F238E27FC236}">
                  <a16:creationId xmlns:a16="http://schemas.microsoft.com/office/drawing/2014/main" id="{7AD3BDC2-11C0-A324-4B24-624AC413C79B}"/>
                </a:ext>
              </a:extLst>
            </p:cNvPr>
            <p:cNvSpPr/>
            <p:nvPr/>
          </p:nvSpPr>
          <p:spPr>
            <a:xfrm>
              <a:off x="6029333" y="4205688"/>
              <a:ext cx="176349" cy="215668"/>
            </a:xfrm>
            <a:prstGeom prst="rect">
              <a:avLst/>
            </a:prstGeom>
            <a:solidFill>
              <a:srgbClr val="FFFFFF"/>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7</a:t>
              </a:r>
              <a:endParaRPr lang="en-US" b="1">
                <a:solidFill>
                  <a:srgbClr val="4E749C"/>
                </a:solidFill>
                <a:latin typeface="Sofia Sans" panose="020B0604020202020204" charset="0"/>
              </a:endParaRPr>
            </a:p>
          </p:txBody>
        </p:sp>
      </p:grpSp>
      <p:pic>
        <p:nvPicPr>
          <p:cNvPr id="12" name="Picture 11" descr="A metal container with a blue round object and a blue round object with a blue circle and a blue circle with a blue circle with a blue circle with a blue circle with a blue circle with a&#10;&#10;Description automatically generated">
            <a:extLst>
              <a:ext uri="{FF2B5EF4-FFF2-40B4-BE49-F238E27FC236}">
                <a16:creationId xmlns:a16="http://schemas.microsoft.com/office/drawing/2014/main" id="{B79C7199-F4CE-D926-B9E3-F6E02403349B}"/>
              </a:ext>
            </a:extLst>
          </p:cNvPr>
          <p:cNvPicPr>
            <a:picLocks noChangeAspect="1"/>
          </p:cNvPicPr>
          <p:nvPr/>
        </p:nvPicPr>
        <p:blipFill>
          <a:blip r:embed="rId5"/>
          <a:srcRect l="19793" r="17427" b="17522"/>
          <a:stretch/>
        </p:blipFill>
        <p:spPr>
          <a:xfrm>
            <a:off x="997610" y="2053282"/>
            <a:ext cx="3219561" cy="2379214"/>
          </a:xfrm>
          <a:prstGeom prst="rect">
            <a:avLst/>
          </a:prstGeom>
          <a:ln w="38100">
            <a:noFill/>
          </a:ln>
        </p:spPr>
      </p:pic>
      <p:pic>
        <p:nvPicPr>
          <p:cNvPr id="18" name="Picture 17">
            <a:extLst>
              <a:ext uri="{FF2B5EF4-FFF2-40B4-BE49-F238E27FC236}">
                <a16:creationId xmlns:a16="http://schemas.microsoft.com/office/drawing/2014/main" id="{5698EC03-134C-9E01-9977-8EE4A8B630A4}"/>
              </a:ext>
            </a:extLst>
          </p:cNvPr>
          <p:cNvPicPr>
            <a:picLocks noChangeAspect="1"/>
          </p:cNvPicPr>
          <p:nvPr/>
        </p:nvPicPr>
        <p:blipFill>
          <a:blip r:embed="rId6"/>
          <a:srcRect t="16183" b="23242"/>
          <a:stretch/>
        </p:blipFill>
        <p:spPr>
          <a:xfrm>
            <a:off x="4580250" y="5410244"/>
            <a:ext cx="1721984" cy="1854375"/>
          </a:xfrm>
          <a:prstGeom prst="rect">
            <a:avLst/>
          </a:prstGeom>
          <a:ln w="28575">
            <a:noFill/>
          </a:ln>
        </p:spPr>
      </p:pic>
      <p:sp>
        <p:nvSpPr>
          <p:cNvPr id="30" name="Rectangle 29">
            <a:extLst>
              <a:ext uri="{FF2B5EF4-FFF2-40B4-BE49-F238E27FC236}">
                <a16:creationId xmlns:a16="http://schemas.microsoft.com/office/drawing/2014/main" id="{CB816A0B-2E56-BE53-970B-A9324FA5BAE4}"/>
              </a:ext>
            </a:extLst>
          </p:cNvPr>
          <p:cNvSpPr/>
          <p:nvPr/>
        </p:nvSpPr>
        <p:spPr>
          <a:xfrm>
            <a:off x="5941149" y="7053770"/>
            <a:ext cx="207168" cy="21530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solidFill>
                  <a:srgbClr val="4E749C"/>
                </a:solidFill>
                <a:latin typeface="Sofia Sans" panose="020B0604020202020204" charset="0"/>
              </a:rPr>
              <a:t>8</a:t>
            </a:r>
            <a:endParaRPr lang="en-US" b="1">
              <a:solidFill>
                <a:srgbClr val="4E749C"/>
              </a:solidFill>
              <a:latin typeface="Sofia Sans" panose="020B0604020202020204" charset="0"/>
            </a:endParaRPr>
          </a:p>
        </p:txBody>
      </p:sp>
      <p:sp>
        <p:nvSpPr>
          <p:cNvPr id="4" name="Untertitel 2">
            <a:extLst>
              <a:ext uri="{FF2B5EF4-FFF2-40B4-BE49-F238E27FC236}">
                <a16:creationId xmlns:a16="http://schemas.microsoft.com/office/drawing/2014/main" id="{C2C367EE-7E29-FD32-E9F8-08F7660F7CFC}"/>
              </a:ext>
            </a:extLst>
          </p:cNvPr>
          <p:cNvSpPr>
            <a:spLocks noGrp="1"/>
          </p:cNvSpPr>
          <p:nvPr>
            <p:ph type="subTitle" idx="1"/>
          </p:nvPr>
        </p:nvSpPr>
        <p:spPr>
          <a:xfrm>
            <a:off x="954184" y="7860704"/>
            <a:ext cx="2732309" cy="1403390"/>
          </a:xfrm>
        </p:spPr>
        <p:txBody>
          <a:bodyPr/>
          <a:lstStyle/>
          <a:p>
            <a:pPr marL="342900" indent="-342900">
              <a:buClr>
                <a:srgbClr val="4E749C"/>
              </a:buClr>
              <a:buFont typeface="+mj-lt"/>
              <a:buAutoNum type="arabicPeriod"/>
            </a:pPr>
            <a:r>
              <a:rPr lang="en-US" sz="1200" noProof="0">
                <a:latin typeface="Sofia Sans" panose="020B0604020202020204" charset="0"/>
              </a:rPr>
              <a:t>Hydro turbine case</a:t>
            </a:r>
          </a:p>
          <a:p>
            <a:pPr marL="342900" indent="-342900">
              <a:buClr>
                <a:srgbClr val="4E749C"/>
              </a:buClr>
              <a:buFont typeface="+mj-lt"/>
              <a:buAutoNum type="arabicPeriod"/>
            </a:pPr>
            <a:r>
              <a:rPr lang="en-US" sz="1200" noProof="0">
                <a:latin typeface="Sofia Sans" panose="020B0604020202020204" charset="0"/>
              </a:rPr>
              <a:t>Turbine</a:t>
            </a:r>
          </a:p>
          <a:p>
            <a:pPr marL="342900" indent="-342900">
              <a:buClr>
                <a:srgbClr val="4E749C"/>
              </a:buClr>
              <a:buFont typeface="+mj-lt"/>
              <a:buAutoNum type="arabicPeriod"/>
            </a:pPr>
            <a:r>
              <a:rPr lang="en-US" sz="1200" noProof="0">
                <a:latin typeface="Sofia Sans" panose="020B0604020202020204" charset="0"/>
              </a:rPr>
              <a:t>Hose (different length of hose to the one on the picture)</a:t>
            </a:r>
          </a:p>
          <a:p>
            <a:pPr marL="342900" indent="-342900">
              <a:buClr>
                <a:srgbClr val="4E749C"/>
              </a:buClr>
              <a:buFont typeface="+mj-lt"/>
              <a:buAutoNum type="arabicPeriod"/>
            </a:pPr>
            <a:r>
              <a:rPr lang="en-US" sz="1200" noProof="0">
                <a:latin typeface="Sofia Sans" panose="020B0604020202020204" charset="0"/>
              </a:rPr>
              <a:t>Nozzle to connect the hose to the case of the turbine</a:t>
            </a:r>
          </a:p>
        </p:txBody>
      </p:sp>
      <p:sp>
        <p:nvSpPr>
          <p:cNvPr id="8" name="Untertitel 2">
            <a:extLst>
              <a:ext uri="{FF2B5EF4-FFF2-40B4-BE49-F238E27FC236}">
                <a16:creationId xmlns:a16="http://schemas.microsoft.com/office/drawing/2014/main" id="{2E49C8B4-18EC-1FDE-4D7D-002774EC4BAD}"/>
              </a:ext>
            </a:extLst>
          </p:cNvPr>
          <p:cNvSpPr txBox="1">
            <a:spLocks/>
          </p:cNvSpPr>
          <p:nvPr/>
        </p:nvSpPr>
        <p:spPr>
          <a:xfrm>
            <a:off x="4047870" y="7860704"/>
            <a:ext cx="2732309" cy="140339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42900" indent="-342900">
              <a:buClr>
                <a:srgbClr val="4E749C"/>
              </a:buClr>
              <a:buFont typeface="+mj-lt"/>
              <a:buAutoNum type="arabicPeriod" startAt="5"/>
            </a:pPr>
            <a:r>
              <a:rPr lang="en-US" sz="1200">
                <a:latin typeface="Sofia Sans" panose="020B0604020202020204" charset="0"/>
              </a:rPr>
              <a:t>Magnetic generator</a:t>
            </a:r>
          </a:p>
          <a:p>
            <a:pPr marL="342900" indent="-342900">
              <a:buClr>
                <a:srgbClr val="4E749C"/>
              </a:buClr>
              <a:buFont typeface="+mj-lt"/>
              <a:buAutoNum type="arabicPeriod" startAt="5"/>
            </a:pPr>
            <a:r>
              <a:rPr lang="en-US" sz="1200">
                <a:latin typeface="Sofia Sans" panose="020B0604020202020204" charset="0"/>
              </a:rPr>
              <a:t>Long bolt </a:t>
            </a:r>
          </a:p>
          <a:p>
            <a:pPr marL="342900" indent="-342900">
              <a:buClr>
                <a:srgbClr val="4E749C"/>
              </a:buClr>
              <a:buFont typeface="+mj-lt"/>
              <a:buAutoNum type="arabicPeriod" startAt="5"/>
            </a:pPr>
            <a:r>
              <a:rPr lang="en-US" sz="1200">
                <a:latin typeface="Sofia Sans" panose="020B0604020202020204" charset="0"/>
              </a:rPr>
              <a:t>Cables to connect to the multimeter</a:t>
            </a:r>
          </a:p>
          <a:p>
            <a:pPr marL="342900" indent="-342900">
              <a:buClr>
                <a:srgbClr val="4E749C"/>
              </a:buClr>
              <a:buFont typeface="+mj-lt"/>
              <a:buAutoNum type="arabicPeriod" startAt="5"/>
            </a:pPr>
            <a:r>
              <a:rPr lang="en-US" sz="1200">
                <a:latin typeface="Sofia Sans" panose="020B0604020202020204" charset="0"/>
              </a:rPr>
              <a:t>Acrylic cover </a:t>
            </a:r>
          </a:p>
        </p:txBody>
      </p:sp>
    </p:spTree>
    <p:extLst>
      <p:ext uri="{BB962C8B-B14F-4D97-AF65-F5344CB8AC3E}">
        <p14:creationId xmlns:p14="http://schemas.microsoft.com/office/powerpoint/2010/main" val="1813835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AEF328F-6DF4-4E36-7514-BE5192F27F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1AEF328F-6DF4-4E36-7514-BE5192F27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de-DE" smtClean="0"/>
              <a:t>6</a:t>
            </a:fld>
            <a:endParaRPr lang="de-DE"/>
          </a:p>
        </p:txBody>
      </p:sp>
      <p:sp>
        <p:nvSpPr>
          <p:cNvPr id="6" name="Untertitel 3">
            <a:extLst>
              <a:ext uri="{FF2B5EF4-FFF2-40B4-BE49-F238E27FC236}">
                <a16:creationId xmlns:a16="http://schemas.microsoft.com/office/drawing/2014/main" id="{0E630E31-56A7-45D2-FE61-A1F165CD464C}"/>
              </a:ext>
            </a:extLst>
          </p:cNvPr>
          <p:cNvSpPr txBox="1">
            <a:spLocks/>
          </p:cNvSpPr>
          <p:nvPr/>
        </p:nvSpPr>
        <p:spPr>
          <a:xfrm>
            <a:off x="794852" y="1277938"/>
            <a:ext cx="6231084" cy="5192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spcAft>
                <a:spcPts val="600"/>
              </a:spcAft>
            </a:pPr>
            <a:r>
              <a:rPr lang="en-US" sz="1500" b="1">
                <a:solidFill>
                  <a:srgbClr val="3B5775"/>
                </a:solidFill>
                <a:latin typeface="Epilogue" panose="020B0604020202020204" charset="0"/>
                <a:cs typeface="Epilogue" panose="020B0604020202020204" charset="0"/>
              </a:rPr>
              <a:t>Why Hydro Energy is Particularly Important in Ghana </a:t>
            </a:r>
          </a:p>
          <a:p>
            <a:pPr marL="144000" indent="0">
              <a:lnSpc>
                <a:spcPct val="114999"/>
              </a:lnSpc>
            </a:pPr>
            <a:r>
              <a:rPr lang="en-US" sz="1200">
                <a:solidFill>
                  <a:srgbClr val="000000"/>
                </a:solidFill>
              </a:rPr>
              <a:t>In 2020, Ghana's energy mix was dominated by fossil fuels (69%), with renewables making up 31%. Hydropower, with major plants like the Akosombo and Bui Dams, has long been a key part of the country's energy system. It not only contributes significantly to electricity generation but also supports irrigation in surrounding areas. Ghana has substantial untapped potential for expanding hydropower, which could further bolster its renewable energy capacity. The government continues to explore ways to harness more of the nation's water resources for sustainable energy generation. </a:t>
            </a:r>
            <a:r>
              <a:rPr lang="en-GB" sz="1200">
                <a:solidFill>
                  <a:srgbClr val="000000"/>
                </a:solidFill>
              </a:rPr>
              <a:t>Now get ready to explore the world of Hydropower technologies. The journey to use the power of the water starts here!</a:t>
            </a:r>
            <a:r>
              <a:rPr lang="de-DE" sz="1200">
                <a:solidFill>
                  <a:srgbClr val="000000"/>
                </a:solidFill>
              </a:rPr>
              <a:t> </a:t>
            </a:r>
            <a:endParaRPr lang="en-US" sz="1200">
              <a:solidFill>
                <a:srgbClr val="000000"/>
              </a:solidFill>
            </a:endParaRPr>
          </a:p>
        </p:txBody>
      </p:sp>
    </p:spTree>
    <p:extLst>
      <p:ext uri="{BB962C8B-B14F-4D97-AF65-F5344CB8AC3E}">
        <p14:creationId xmlns:p14="http://schemas.microsoft.com/office/powerpoint/2010/main" val="14095596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4DDB025-CF77-8FB2-D983-95379F7E3DA2}"/>
              </a:ext>
            </a:extLst>
          </p:cNvPr>
          <p:cNvSpPr>
            <a:spLocks noGrp="1"/>
          </p:cNvSpPr>
          <p:nvPr>
            <p:ph type="sldNum" sz="quarter" idx="10"/>
          </p:nvPr>
        </p:nvSpPr>
        <p:spPr/>
        <p:txBody>
          <a:bodyPr/>
          <a:lstStyle/>
          <a:p>
            <a:fld id="{DF7F771E-9578-4C04-B869-01AF4C35C90C}" type="slidenum">
              <a:rPr lang="de-DE" smtClean="0"/>
              <a:t>60</a:t>
            </a:fld>
            <a:endParaRPr lang="de-DE"/>
          </a:p>
        </p:txBody>
      </p:sp>
      <p:sp>
        <p:nvSpPr>
          <p:cNvPr id="8" name="Untertitel 3">
            <a:extLst>
              <a:ext uri="{FF2B5EF4-FFF2-40B4-BE49-F238E27FC236}">
                <a16:creationId xmlns:a16="http://schemas.microsoft.com/office/drawing/2014/main" id="{05F98F18-E122-0D7D-F115-4F947744DAF8}"/>
              </a:ext>
            </a:extLst>
          </p:cNvPr>
          <p:cNvSpPr txBox="1">
            <a:spLocks/>
          </p:cNvSpPr>
          <p:nvPr/>
        </p:nvSpPr>
        <p:spPr>
          <a:xfrm>
            <a:off x="730721" y="2147790"/>
            <a:ext cx="6130330" cy="62908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solidFill>
                  <a:srgbClr val="4E749C"/>
                </a:solidFill>
                <a:latin typeface="Sofia Sans" panose="020B0604020202020204" charset="0"/>
                <a:cs typeface="Epilogue" panose="020B0604020202020204" charset="0"/>
              </a:rPr>
              <a:t>Step 1: Attach the Turbine to the Case</a:t>
            </a:r>
          </a:p>
          <a:p>
            <a:pPr>
              <a:buClr>
                <a:srgbClr val="4E749C"/>
              </a:buClr>
              <a:buFont typeface="+mj-lt"/>
              <a:buAutoNum type="arabicPeriod"/>
            </a:pPr>
            <a:r>
              <a:rPr lang="en-US" sz="1200" b="1">
                <a:latin typeface="Sofia Sans" panose="020B0604020202020204" charset="0"/>
              </a:rPr>
              <a:t>Gather the Parts:</a:t>
            </a:r>
            <a:r>
              <a:rPr lang="en-US" sz="1200">
                <a:latin typeface="Sofia Sans" panose="020B0604020202020204" charset="0"/>
              </a:rPr>
              <a:t> Locate the turbine, the turbine case, and the acrylic cover.</a:t>
            </a:r>
          </a:p>
          <a:p>
            <a:pPr>
              <a:buClr>
                <a:srgbClr val="4E749C"/>
              </a:buClr>
              <a:buFont typeface="+mj-lt"/>
              <a:buAutoNum type="arabicPeriod"/>
            </a:pPr>
            <a:r>
              <a:rPr lang="en-US" sz="1200" b="1">
                <a:latin typeface="Sofia Sans" panose="020B0604020202020204" charset="0"/>
              </a:rPr>
              <a:t>Position the Turbine:</a:t>
            </a:r>
            <a:r>
              <a:rPr lang="en-US" sz="1200">
                <a:latin typeface="Sofia Sans" panose="020B0604020202020204" charset="0"/>
              </a:rPr>
              <a:t> Place the turbine inside the turbine case, ensuring it fits securely and is aligned properly for smooth rotation.</a:t>
            </a:r>
          </a:p>
          <a:p>
            <a:pPr>
              <a:buClr>
                <a:srgbClr val="4E749C"/>
              </a:buClr>
              <a:buFont typeface="+mj-lt"/>
              <a:buAutoNum type="arabicPeriod"/>
            </a:pPr>
            <a:r>
              <a:rPr lang="en-US" sz="1200" b="1">
                <a:latin typeface="Sofia Sans" panose="020B0604020202020204" charset="0"/>
              </a:rPr>
              <a:t>Secure the Turbine:</a:t>
            </a:r>
            <a:r>
              <a:rPr lang="en-US" sz="1200">
                <a:latin typeface="Sofia Sans" panose="020B0604020202020204" charset="0"/>
              </a:rPr>
              <a:t> Attach the turbine to the case using the provided mounting mechanism inside the case. Ensure the turbine can spin freely without obstruction.</a:t>
            </a:r>
          </a:p>
          <a:p>
            <a:pPr>
              <a:buAutoNum type="arabicPeriod"/>
            </a:pPr>
            <a:endParaRPr lang="en-US" sz="1200">
              <a:latin typeface="Sofia Sans" panose="020B0604020202020204" charset="0"/>
            </a:endParaRPr>
          </a:p>
          <a:p>
            <a:r>
              <a:rPr lang="en-US" sz="1200" b="1">
                <a:solidFill>
                  <a:srgbClr val="4E749C"/>
                </a:solidFill>
                <a:latin typeface="Sofia Sans" panose="020B0604020202020204" charset="0"/>
                <a:cs typeface="Epilogue" panose="020B0604020202020204" charset="0"/>
              </a:rPr>
              <a:t>Step 2: Connect the Generator</a:t>
            </a:r>
          </a:p>
          <a:p>
            <a:pPr>
              <a:buClr>
                <a:srgbClr val="4E749C"/>
              </a:buClr>
              <a:buFont typeface="+mj-lt"/>
              <a:buAutoNum type="arabicPeriod"/>
            </a:pPr>
            <a:r>
              <a:rPr lang="en-US" sz="1200" b="1">
                <a:latin typeface="Sofia Sans" panose="020B0604020202020204" charset="0"/>
              </a:rPr>
              <a:t>Attach the Generator: </a:t>
            </a:r>
            <a:r>
              <a:rPr lang="en-US" sz="1200">
                <a:latin typeface="Sofia Sans" panose="020B0604020202020204" charset="0"/>
              </a:rPr>
              <a:t>Place the generator at the back of the turbine case, aligning it with the turbine's shaft.</a:t>
            </a:r>
          </a:p>
          <a:p>
            <a:pPr>
              <a:buClr>
                <a:srgbClr val="4E749C"/>
              </a:buClr>
              <a:buFont typeface="+mj-lt"/>
              <a:buAutoNum type="arabicPeriod"/>
            </a:pPr>
            <a:r>
              <a:rPr lang="en-US" sz="1200" b="1">
                <a:latin typeface="Sofia Sans" panose="020B0604020202020204" charset="0"/>
              </a:rPr>
              <a:t>Secure the Connection: </a:t>
            </a:r>
            <a:r>
              <a:rPr lang="en-US" sz="1200">
                <a:latin typeface="Sofia Sans" panose="020B0604020202020204" charset="0"/>
              </a:rPr>
              <a:t>Insert the long bolt through the case, connecting the turbine to the generator.</a:t>
            </a:r>
          </a:p>
          <a:p>
            <a:pPr>
              <a:buClr>
                <a:srgbClr val="4E749C"/>
              </a:buClr>
              <a:buFont typeface="+mj-lt"/>
              <a:buAutoNum type="arabicPeriod"/>
            </a:pPr>
            <a:r>
              <a:rPr lang="en-US" sz="1200" b="1">
                <a:latin typeface="Sofia Sans" panose="020B0604020202020204" charset="0"/>
              </a:rPr>
              <a:t>Adjust the Pressure: </a:t>
            </a:r>
            <a:r>
              <a:rPr lang="en-US" sz="1200">
                <a:latin typeface="Sofia Sans" panose="020B0604020202020204" charset="0"/>
              </a:rPr>
              <a:t>Tighten or loosen the bolt to adjust the pressure between the turbine, the case and the generator. Ensure the connection is firm but allows the turbine to spin smoothly.</a:t>
            </a:r>
          </a:p>
          <a:p>
            <a:pPr>
              <a:buFontTx/>
              <a:buChar char="-"/>
            </a:pPr>
            <a:endParaRPr lang="en-US" sz="1200">
              <a:latin typeface="Sofia Sans" panose="020B0604020202020204" charset="0"/>
            </a:endParaRPr>
          </a:p>
          <a:p>
            <a:r>
              <a:rPr lang="en-US" sz="1200" b="1">
                <a:solidFill>
                  <a:srgbClr val="4E749C"/>
                </a:solidFill>
                <a:latin typeface="Sofia Sans" panose="020B0604020202020204" charset="0"/>
                <a:cs typeface="Epilogue" panose="020B0604020202020204" charset="0"/>
              </a:rPr>
              <a:t>Step 3: Install the Acrylic Cover</a:t>
            </a:r>
          </a:p>
          <a:p>
            <a:pPr>
              <a:buClr>
                <a:srgbClr val="4E749C"/>
              </a:buClr>
              <a:buFont typeface="+mj-lt"/>
              <a:buAutoNum type="arabicPeriod"/>
            </a:pPr>
            <a:r>
              <a:rPr lang="en-US" sz="1200" b="1">
                <a:latin typeface="Sofia Sans" panose="020B0604020202020204" charset="0"/>
              </a:rPr>
              <a:t>Place the Acrylic Cover: </a:t>
            </a:r>
            <a:r>
              <a:rPr lang="en-US" sz="1200">
                <a:latin typeface="Sofia Sans" panose="020B0604020202020204" charset="0"/>
              </a:rPr>
              <a:t>Position the acrylic cover in front of the turbine case to enclose the turbine securely.</a:t>
            </a:r>
          </a:p>
          <a:p>
            <a:pPr>
              <a:buClr>
                <a:srgbClr val="4E749C"/>
              </a:buClr>
              <a:buFont typeface="+mj-lt"/>
              <a:buAutoNum type="arabicPeriod"/>
            </a:pPr>
            <a:r>
              <a:rPr lang="en-US" sz="1200" b="1">
                <a:latin typeface="Sofia Sans" panose="020B0604020202020204" charset="0"/>
              </a:rPr>
              <a:t>Adjust the Bolt Tip: </a:t>
            </a:r>
            <a:r>
              <a:rPr lang="en-US" sz="1200">
                <a:latin typeface="Sofia Sans" panose="020B0604020202020204" charset="0"/>
              </a:rPr>
              <a:t>Extend or retract the tip of the bolt as needed to ensure the acrylic cover fits snugly over the turbine case. This ensures the setup is water-tight and ready for use.</a:t>
            </a:r>
          </a:p>
          <a:p>
            <a:pPr>
              <a:buFont typeface="Arial" panose="020B0604020202020204" pitchFamily="34" charset="0"/>
              <a:buChar char="•"/>
            </a:pPr>
            <a:endParaRPr lang="en-US" sz="1200">
              <a:latin typeface="Sofia Sans" panose="020B0604020202020204" charset="0"/>
            </a:endParaRPr>
          </a:p>
          <a:p>
            <a:r>
              <a:rPr lang="en-US" sz="1200" b="1">
                <a:solidFill>
                  <a:srgbClr val="4E749C"/>
                </a:solidFill>
                <a:latin typeface="Sofia Sans" panose="020B0604020202020204" charset="0"/>
                <a:cs typeface="Epilogue" panose="020B0604020202020204" charset="0"/>
              </a:rPr>
              <a:t>Step 4: Attach the Hose</a:t>
            </a:r>
          </a:p>
          <a:p>
            <a:pPr>
              <a:buClr>
                <a:srgbClr val="4E749C"/>
              </a:buClr>
              <a:buFont typeface="+mj-lt"/>
              <a:buAutoNum type="arabicPeriod"/>
            </a:pPr>
            <a:r>
              <a:rPr lang="en-US" sz="1200" b="1">
                <a:latin typeface="Sofia Sans" panose="020B0604020202020204" charset="0"/>
              </a:rPr>
              <a:t>Connect the Hose: </a:t>
            </a:r>
            <a:r>
              <a:rPr lang="en-US" sz="1200">
                <a:latin typeface="Sofia Sans" panose="020B0604020202020204" charset="0"/>
              </a:rPr>
              <a:t>Attach the hose to the top of the turbine case using the nozzle provided in the kit.</a:t>
            </a:r>
          </a:p>
          <a:p>
            <a:pPr>
              <a:buClr>
                <a:srgbClr val="4E749C"/>
              </a:buClr>
              <a:buFont typeface="+mj-lt"/>
              <a:buAutoNum type="arabicPeriod"/>
            </a:pPr>
            <a:r>
              <a:rPr lang="en-US" sz="1200" b="1">
                <a:latin typeface="Sofia Sans" panose="020B0604020202020204" charset="0"/>
              </a:rPr>
              <a:t>Ensure a Tight Fit: </a:t>
            </a:r>
            <a:r>
              <a:rPr lang="en-US" sz="1200">
                <a:latin typeface="Sofia Sans" panose="020B0604020202020204" charset="0"/>
              </a:rPr>
              <a:t>Check that the hose is securely attached to prevent leaks during water flow.</a:t>
            </a:r>
          </a:p>
        </p:txBody>
      </p:sp>
      <p:sp>
        <p:nvSpPr>
          <p:cNvPr id="9" name="Untertitel 5">
            <a:extLst>
              <a:ext uri="{FF2B5EF4-FFF2-40B4-BE49-F238E27FC236}">
                <a16:creationId xmlns:a16="http://schemas.microsoft.com/office/drawing/2014/main" id="{D712E653-136F-EE3B-F658-434E39B965AF}"/>
              </a:ext>
            </a:extLst>
          </p:cNvPr>
          <p:cNvSpPr txBox="1">
            <a:spLocks/>
          </p:cNvSpPr>
          <p:nvPr/>
        </p:nvSpPr>
        <p:spPr>
          <a:xfrm>
            <a:off x="730721" y="1316850"/>
            <a:ext cx="6025959" cy="64611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144000" indent="0"/>
            <a:r>
              <a:rPr lang="en-US" sz="1800">
                <a:solidFill>
                  <a:srgbClr val="4E749C"/>
                </a:solidFill>
              </a:rPr>
              <a:t>Step-by-Step Instructions for Assembling the Hydro Energy Kit</a:t>
            </a:r>
            <a:endParaRPr lang="de-DE" sz="1800">
              <a:solidFill>
                <a:srgbClr val="4E749C"/>
              </a:solidFill>
            </a:endParaRPr>
          </a:p>
        </p:txBody>
      </p:sp>
    </p:spTree>
    <p:extLst>
      <p:ext uri="{BB962C8B-B14F-4D97-AF65-F5344CB8AC3E}">
        <p14:creationId xmlns:p14="http://schemas.microsoft.com/office/powerpoint/2010/main" val="36455104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02338D6-784B-6F23-B0F1-F8417A1EA772}"/>
              </a:ext>
            </a:extLst>
          </p:cNvPr>
          <p:cNvSpPr>
            <a:spLocks noGrp="1"/>
          </p:cNvSpPr>
          <p:nvPr>
            <p:ph type="sldNum" sz="quarter" idx="4"/>
          </p:nvPr>
        </p:nvSpPr>
        <p:spPr/>
        <p:txBody>
          <a:bodyPr/>
          <a:lstStyle/>
          <a:p>
            <a:fld id="{DF7F771E-9578-4C04-B869-01AF4C35C90C}" type="slidenum">
              <a:rPr lang="de-DE" smtClean="0"/>
              <a:t>61</a:t>
            </a:fld>
            <a:endParaRPr lang="de-DE"/>
          </a:p>
        </p:txBody>
      </p:sp>
      <p:sp>
        <p:nvSpPr>
          <p:cNvPr id="6" name="Untertitel 3">
            <a:extLst>
              <a:ext uri="{FF2B5EF4-FFF2-40B4-BE49-F238E27FC236}">
                <a16:creationId xmlns:a16="http://schemas.microsoft.com/office/drawing/2014/main" id="{E460F822-0AA0-4BD5-D03E-FB211E9AF1B6}"/>
              </a:ext>
            </a:extLst>
          </p:cNvPr>
          <p:cNvSpPr txBox="1">
            <a:spLocks/>
          </p:cNvSpPr>
          <p:nvPr/>
        </p:nvSpPr>
        <p:spPr>
          <a:xfrm>
            <a:off x="738594" y="1298418"/>
            <a:ext cx="6130330" cy="823116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solidFill>
                  <a:srgbClr val="4E749C"/>
                </a:solidFill>
                <a:latin typeface="Sofia Sans" panose="020B0604020202020204" charset="0"/>
                <a:cs typeface="Epilogue" panose="020B0604020202020204" charset="0"/>
              </a:rPr>
              <a:t>Step 5: Secure the Case to a Surface</a:t>
            </a:r>
          </a:p>
          <a:p>
            <a:pPr>
              <a:buClr>
                <a:srgbClr val="4E749C"/>
              </a:buClr>
              <a:buFont typeface="+mj-lt"/>
              <a:buAutoNum type="arabicPeriod"/>
            </a:pPr>
            <a:r>
              <a:rPr lang="en-US" sz="1200" b="1">
                <a:latin typeface="Sofia Sans" panose="020B0604020202020204" charset="0"/>
              </a:rPr>
              <a:t>Locate the </a:t>
            </a:r>
            <a:r>
              <a:rPr lang="en-US" sz="1200">
                <a:latin typeface="Sofia Sans" panose="020B0604020202020204" charset="0"/>
              </a:rPr>
              <a:t>Mounting Holes: Use the pre-drilled holes at the bottom of the turbine case.</a:t>
            </a:r>
          </a:p>
          <a:p>
            <a:pPr>
              <a:buClr>
                <a:srgbClr val="4E749C"/>
              </a:buClr>
              <a:buFont typeface="+mj-lt"/>
              <a:buAutoNum type="arabicPeriod"/>
            </a:pPr>
            <a:r>
              <a:rPr lang="en-US" sz="1200" b="1">
                <a:latin typeface="Sofia Sans" panose="020B0604020202020204" charset="0"/>
              </a:rPr>
              <a:t>Fix the Case: </a:t>
            </a:r>
            <a:r>
              <a:rPr lang="en-US" sz="1200">
                <a:latin typeface="Sofia Sans" panose="020B0604020202020204" charset="0"/>
              </a:rPr>
              <a:t>Secure the turbine case, generator, and hose to a stable surface using screws or clamps (not included in the kit). This ensures the assembly remains steady during the experiment.</a:t>
            </a:r>
          </a:p>
          <a:p>
            <a:pPr>
              <a:buClr>
                <a:srgbClr val="4E749C"/>
              </a:buClr>
              <a:buFont typeface="+mj-lt"/>
              <a:buAutoNum type="arabicPeriod"/>
            </a:pPr>
            <a:endParaRPr lang="en-US" sz="1200">
              <a:latin typeface="Sofia Sans" panose="020B0604020202020204" charset="0"/>
            </a:endParaRPr>
          </a:p>
          <a:p>
            <a:r>
              <a:rPr lang="en-US" sz="1200" b="1">
                <a:latin typeface="Sofia Sans" panose="020B0604020202020204" charset="0"/>
              </a:rPr>
              <a:t>Important Notes for Experimentation:</a:t>
            </a:r>
            <a:endParaRPr lang="en-US" sz="1200">
              <a:latin typeface="Sofia Sans" panose="020B0604020202020204" charset="0"/>
            </a:endParaRPr>
          </a:p>
          <a:p>
            <a:pPr>
              <a:buClr>
                <a:srgbClr val="4E749C"/>
              </a:buClr>
              <a:buFont typeface="Arial" panose="020B0604020202020204" pitchFamily="34" charset="0"/>
              <a:buChar char="•"/>
            </a:pPr>
            <a:r>
              <a:rPr lang="en-US" sz="1200">
                <a:latin typeface="Sofia Sans" panose="020B0604020202020204" charset="0"/>
              </a:rPr>
              <a:t>Ensure all parts are securely tightened before conducting any experiments.</a:t>
            </a:r>
          </a:p>
          <a:p>
            <a:pPr>
              <a:buClr>
                <a:srgbClr val="4E749C"/>
              </a:buClr>
              <a:buFont typeface="Arial" panose="020B0604020202020204" pitchFamily="34" charset="0"/>
              <a:buChar char="•"/>
            </a:pPr>
            <a:r>
              <a:rPr lang="en-US" sz="1200">
                <a:latin typeface="Sofia Sans" panose="020B0604020202020204" charset="0"/>
              </a:rPr>
              <a:t>The acrylic cover must be properly aligned to avoid water leakage.</a:t>
            </a:r>
          </a:p>
          <a:p>
            <a:pPr>
              <a:buClr>
                <a:srgbClr val="4E749C"/>
              </a:buClr>
              <a:buFont typeface="Arial" panose="020B0604020202020204" pitchFamily="34" charset="0"/>
              <a:buChar char="•"/>
            </a:pPr>
            <a:r>
              <a:rPr lang="en-US" sz="1200">
                <a:latin typeface="Sofia Sans" panose="020B0604020202020204" charset="0"/>
              </a:rPr>
              <a:t>Place the assembled kit on a flat, stable surface to ensure safety and efficiency during use.</a:t>
            </a:r>
          </a:p>
          <a:p>
            <a:pPr>
              <a:buClr>
                <a:srgbClr val="4E749C"/>
              </a:buClr>
              <a:buFont typeface="Arial" panose="020B0604020202020204" pitchFamily="34" charset="0"/>
              <a:buChar char="•"/>
            </a:pPr>
            <a:endParaRPr lang="en-US" sz="1200">
              <a:latin typeface="Sofia Sans" panose="020B0604020202020204" charset="0"/>
            </a:endParaRPr>
          </a:p>
          <a:p>
            <a:pPr marL="180000" indent="0"/>
            <a:r>
              <a:rPr lang="en-US" sz="1200">
                <a:latin typeface="Sofia Sans" panose="020B0604020202020204" charset="0"/>
              </a:rPr>
              <a:t>By following these steps, you can successfully assemble the hydro energy kit and prepare it for experiments to observe the principles of hydro energy in action.</a:t>
            </a:r>
          </a:p>
          <a:p>
            <a:pPr marL="139700" indent="0">
              <a:buClr>
                <a:srgbClr val="4E749C"/>
              </a:buClr>
            </a:pPr>
            <a:endParaRPr lang="en-US" sz="1200"/>
          </a:p>
        </p:txBody>
      </p:sp>
    </p:spTree>
    <p:extLst>
      <p:ext uri="{BB962C8B-B14F-4D97-AF65-F5344CB8AC3E}">
        <p14:creationId xmlns:p14="http://schemas.microsoft.com/office/powerpoint/2010/main" val="25451480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p:txBody>
          <a:bodyPr/>
          <a:lstStyle/>
          <a:p>
            <a:r>
              <a:rPr lang="de-DE"/>
              <a:t>How to use a Multimeter</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de-DE" smtClean="0"/>
              <a:t>62</a:t>
            </a:fld>
            <a:endParaRPr lang="de-DE"/>
          </a:p>
        </p:txBody>
      </p:sp>
      <p:grpSp>
        <p:nvGrpSpPr>
          <p:cNvPr id="4" name="Google Shape;736;p43">
            <a:extLst>
              <a:ext uri="{FF2B5EF4-FFF2-40B4-BE49-F238E27FC236}">
                <a16:creationId xmlns:a16="http://schemas.microsoft.com/office/drawing/2014/main" id="{B5C85380-1F79-1428-7E8B-6D4110420C15}"/>
              </a:ext>
            </a:extLst>
          </p:cNvPr>
          <p:cNvGrpSpPr/>
          <p:nvPr/>
        </p:nvGrpSpPr>
        <p:grpSpPr>
          <a:xfrm>
            <a:off x="719138" y="1886167"/>
            <a:ext cx="681823" cy="1083534"/>
            <a:chOff x="0" y="0"/>
            <a:chExt cx="789840" cy="1378440"/>
          </a:xfrm>
        </p:grpSpPr>
        <p:sp>
          <p:nvSpPr>
            <p:cNvPr id="5" name="Google Shape;737;p43">
              <a:extLst>
                <a:ext uri="{FF2B5EF4-FFF2-40B4-BE49-F238E27FC236}">
                  <a16:creationId xmlns:a16="http://schemas.microsoft.com/office/drawing/2014/main" id="{8B6CDC97-FD2E-E75A-FA82-08311065DAC7}"/>
                </a:ext>
              </a:extLst>
            </p:cNvPr>
            <p:cNvSpPr/>
            <p:nvPr/>
          </p:nvSpPr>
          <p:spPr>
            <a:xfrm>
              <a:off x="0" y="0"/>
              <a:ext cx="789840" cy="1106280"/>
            </a:xfrm>
            <a:custGeom>
              <a:avLst/>
              <a:gdLst/>
              <a:ahLst/>
              <a:cxnLst/>
              <a:rect l="l" t="t" r="r" b="b"/>
              <a:pathLst>
                <a:path w="2194" h="3073" extrusionOk="0">
                  <a:moveTo>
                    <a:pt x="263" y="1838"/>
                  </a:moveTo>
                  <a:lnTo>
                    <a:pt x="263" y="1838"/>
                  </a:lnTo>
                  <a:cubicBezTo>
                    <a:pt x="109" y="1653"/>
                    <a:pt x="0" y="1406"/>
                    <a:pt x="0" y="1128"/>
                  </a:cubicBezTo>
                  <a:cubicBezTo>
                    <a:pt x="0" y="525"/>
                    <a:pt x="465" y="46"/>
                    <a:pt x="1051" y="0"/>
                  </a:cubicBezTo>
                  <a:cubicBezTo>
                    <a:pt x="1144" y="0"/>
                    <a:pt x="1144" y="0"/>
                    <a:pt x="1144" y="0"/>
                  </a:cubicBezTo>
                  <a:cubicBezTo>
                    <a:pt x="1731" y="46"/>
                    <a:pt x="2194" y="525"/>
                    <a:pt x="2194" y="1128"/>
                  </a:cubicBezTo>
                  <a:cubicBezTo>
                    <a:pt x="2194" y="1406"/>
                    <a:pt x="2086" y="1653"/>
                    <a:pt x="1931" y="1838"/>
                  </a:cubicBezTo>
                  <a:lnTo>
                    <a:pt x="1931" y="1838"/>
                  </a:lnTo>
                  <a:cubicBezTo>
                    <a:pt x="1931" y="1838"/>
                    <a:pt x="1654" y="2563"/>
                    <a:pt x="1700" y="2857"/>
                  </a:cubicBezTo>
                  <a:cubicBezTo>
                    <a:pt x="1715" y="2873"/>
                    <a:pt x="1731" y="2902"/>
                    <a:pt x="1731" y="2919"/>
                  </a:cubicBezTo>
                  <a:cubicBezTo>
                    <a:pt x="1731" y="2950"/>
                    <a:pt x="1731" y="2950"/>
                    <a:pt x="1731" y="2950"/>
                  </a:cubicBezTo>
                  <a:cubicBezTo>
                    <a:pt x="1731" y="3027"/>
                    <a:pt x="1669" y="3073"/>
                    <a:pt x="1592" y="3073"/>
                  </a:cubicBezTo>
                  <a:cubicBezTo>
                    <a:pt x="1098" y="3073"/>
                    <a:pt x="1098" y="3073"/>
                    <a:pt x="1098" y="3073"/>
                  </a:cubicBezTo>
                  <a:lnTo>
                    <a:pt x="1098" y="3073"/>
                  </a:lnTo>
                  <a:cubicBezTo>
                    <a:pt x="603" y="3073"/>
                    <a:pt x="603" y="3073"/>
                    <a:pt x="603" y="3073"/>
                  </a:cubicBezTo>
                  <a:cubicBezTo>
                    <a:pt x="525" y="3073"/>
                    <a:pt x="465" y="3027"/>
                    <a:pt x="465" y="2950"/>
                  </a:cubicBezTo>
                  <a:cubicBezTo>
                    <a:pt x="465" y="2919"/>
                    <a:pt x="465" y="2919"/>
                    <a:pt x="465" y="2919"/>
                  </a:cubicBezTo>
                  <a:cubicBezTo>
                    <a:pt x="465" y="2902"/>
                    <a:pt x="480" y="2873"/>
                    <a:pt x="494" y="2857"/>
                  </a:cubicBezTo>
                  <a:cubicBezTo>
                    <a:pt x="542" y="2563"/>
                    <a:pt x="263" y="1838"/>
                    <a:pt x="263" y="1838"/>
                  </a:cubicBezTo>
                  <a:close/>
                </a:path>
              </a:pathLst>
            </a:custGeom>
            <a:solidFill>
              <a:srgbClr val="CEA634"/>
            </a:solidFill>
            <a:ln>
              <a:noFill/>
            </a:ln>
          </p:spPr>
          <p:txBody>
            <a:bodyPr spcFirstLastPara="1" wrap="square" lIns="90000" tIns="45000" rIns="90000" bIns="45000" anchor="ctr" anchorCtr="1">
              <a:noAutofit/>
            </a:bodyPr>
            <a:lstStyle/>
            <a:p>
              <a:endParaRPr lang="de-DE"/>
            </a:p>
          </p:txBody>
        </p:sp>
        <p:sp>
          <p:nvSpPr>
            <p:cNvPr id="6" name="Google Shape;738;p43">
              <a:extLst>
                <a:ext uri="{FF2B5EF4-FFF2-40B4-BE49-F238E27FC236}">
                  <a16:creationId xmlns:a16="http://schemas.microsoft.com/office/drawing/2014/main" id="{445B668E-D3C7-55FD-92C0-6ED22761E9FE}"/>
                </a:ext>
              </a:extLst>
            </p:cNvPr>
            <p:cNvSpPr/>
            <p:nvPr/>
          </p:nvSpPr>
          <p:spPr>
            <a:xfrm>
              <a:off x="306000" y="705960"/>
              <a:ext cx="177840" cy="433800"/>
            </a:xfrm>
            <a:custGeom>
              <a:avLst/>
              <a:gdLst/>
              <a:ahLst/>
              <a:cxnLst/>
              <a:rect l="l" t="t" r="r" b="b"/>
              <a:pathLst>
                <a:path w="494" h="1205" extrusionOk="0">
                  <a:moveTo>
                    <a:pt x="494" y="958"/>
                  </a:moveTo>
                  <a:lnTo>
                    <a:pt x="494" y="958"/>
                  </a:lnTo>
                  <a:cubicBezTo>
                    <a:pt x="494" y="1097"/>
                    <a:pt x="386" y="1205"/>
                    <a:pt x="248" y="1205"/>
                  </a:cubicBezTo>
                  <a:lnTo>
                    <a:pt x="248" y="1205"/>
                  </a:lnTo>
                  <a:cubicBezTo>
                    <a:pt x="109" y="1205"/>
                    <a:pt x="0" y="1097"/>
                    <a:pt x="0" y="958"/>
                  </a:cubicBezTo>
                  <a:cubicBezTo>
                    <a:pt x="0" y="247"/>
                    <a:pt x="0" y="247"/>
                    <a:pt x="0" y="247"/>
                  </a:cubicBezTo>
                  <a:cubicBezTo>
                    <a:pt x="0" y="108"/>
                    <a:pt x="109" y="0"/>
                    <a:pt x="248" y="0"/>
                  </a:cubicBezTo>
                  <a:lnTo>
                    <a:pt x="248" y="0"/>
                  </a:lnTo>
                  <a:cubicBezTo>
                    <a:pt x="386" y="0"/>
                    <a:pt x="494" y="108"/>
                    <a:pt x="494" y="247"/>
                  </a:cubicBezTo>
                  <a:lnTo>
                    <a:pt x="494" y="958"/>
                  </a:lnTo>
                  <a:close/>
                </a:path>
              </a:pathLst>
            </a:custGeom>
            <a:solidFill>
              <a:srgbClr val="F5F3EF"/>
            </a:solidFill>
            <a:ln>
              <a:noFill/>
            </a:ln>
          </p:spPr>
          <p:txBody>
            <a:bodyPr spcFirstLastPara="1" wrap="square" lIns="90000" tIns="45000" rIns="90000" bIns="45000" anchor="ctr" anchorCtr="1">
              <a:noAutofit/>
            </a:bodyPr>
            <a:lstStyle/>
            <a:p>
              <a:endParaRPr lang="de-DE"/>
            </a:p>
          </p:txBody>
        </p:sp>
        <p:sp>
          <p:nvSpPr>
            <p:cNvPr id="8" name="Google Shape;739;p43">
              <a:extLst>
                <a:ext uri="{FF2B5EF4-FFF2-40B4-BE49-F238E27FC236}">
                  <a16:creationId xmlns:a16="http://schemas.microsoft.com/office/drawing/2014/main" id="{3A987905-292E-A4F9-2E07-B4E9F0025B5D}"/>
                </a:ext>
              </a:extLst>
            </p:cNvPr>
            <p:cNvSpPr/>
            <p:nvPr/>
          </p:nvSpPr>
          <p:spPr>
            <a:xfrm>
              <a:off x="255960" y="1311840"/>
              <a:ext cx="278280" cy="66600"/>
            </a:xfrm>
            <a:custGeom>
              <a:avLst/>
              <a:gdLst/>
              <a:ahLst/>
              <a:cxnLst/>
              <a:rect l="l" t="t" r="r" b="b"/>
              <a:pathLst>
                <a:path w="773" h="185" extrusionOk="0">
                  <a:moveTo>
                    <a:pt x="0" y="93"/>
                  </a:moveTo>
                  <a:lnTo>
                    <a:pt x="0" y="93"/>
                  </a:lnTo>
                  <a:cubicBezTo>
                    <a:pt x="0" y="139"/>
                    <a:pt x="170" y="185"/>
                    <a:pt x="387" y="185"/>
                  </a:cubicBezTo>
                  <a:cubicBezTo>
                    <a:pt x="604" y="185"/>
                    <a:pt x="773" y="139"/>
                    <a:pt x="773" y="93"/>
                  </a:cubicBezTo>
                  <a:cubicBezTo>
                    <a:pt x="773" y="47"/>
                    <a:pt x="604" y="0"/>
                    <a:pt x="387" y="0"/>
                  </a:cubicBezTo>
                  <a:cubicBezTo>
                    <a:pt x="170" y="0"/>
                    <a:pt x="0" y="47"/>
                    <a:pt x="0" y="93"/>
                  </a:cubicBezTo>
                  <a:close/>
                </a:path>
              </a:pathLst>
            </a:custGeom>
            <a:solidFill>
              <a:srgbClr val="333333"/>
            </a:solidFill>
            <a:ln>
              <a:noFill/>
            </a:ln>
          </p:spPr>
          <p:txBody>
            <a:bodyPr spcFirstLastPara="1" wrap="square" lIns="90000" tIns="21600" rIns="90000" bIns="21600" anchor="ctr" anchorCtr="1">
              <a:noAutofit/>
            </a:bodyPr>
            <a:lstStyle/>
            <a:p>
              <a:endParaRPr lang="de-DE"/>
            </a:p>
          </p:txBody>
        </p:sp>
        <p:sp>
          <p:nvSpPr>
            <p:cNvPr id="9" name="Google Shape;740;p43">
              <a:extLst>
                <a:ext uri="{FF2B5EF4-FFF2-40B4-BE49-F238E27FC236}">
                  <a16:creationId xmlns:a16="http://schemas.microsoft.com/office/drawing/2014/main" id="{D89EDD80-F857-6FEB-FBF2-91AA507EF78B}"/>
                </a:ext>
              </a:extLst>
            </p:cNvPr>
            <p:cNvSpPr/>
            <p:nvPr/>
          </p:nvSpPr>
          <p:spPr>
            <a:xfrm>
              <a:off x="183960" y="1100880"/>
              <a:ext cx="422640" cy="77400"/>
            </a:xfrm>
            <a:custGeom>
              <a:avLst/>
              <a:gdLst/>
              <a:ahLst/>
              <a:cxnLst/>
              <a:rect l="l" t="t" r="r" b="b"/>
              <a:pathLst>
                <a:path w="1174" h="215" extrusionOk="0">
                  <a:moveTo>
                    <a:pt x="1174" y="108"/>
                  </a:moveTo>
                  <a:lnTo>
                    <a:pt x="1174" y="108"/>
                  </a:lnTo>
                  <a:cubicBezTo>
                    <a:pt x="1174" y="169"/>
                    <a:pt x="1127" y="215"/>
                    <a:pt x="1081" y="215"/>
                  </a:cubicBezTo>
                  <a:cubicBezTo>
                    <a:pt x="92" y="215"/>
                    <a:pt x="92" y="215"/>
                    <a:pt x="92" y="215"/>
                  </a:cubicBezTo>
                  <a:cubicBezTo>
                    <a:pt x="46" y="215"/>
                    <a:pt x="0" y="169"/>
                    <a:pt x="0" y="108"/>
                  </a:cubicBezTo>
                  <a:cubicBezTo>
                    <a:pt x="0" y="92"/>
                    <a:pt x="0" y="92"/>
                    <a:pt x="0" y="77"/>
                  </a:cubicBezTo>
                  <a:cubicBezTo>
                    <a:pt x="14" y="30"/>
                    <a:pt x="46" y="0"/>
                    <a:pt x="92" y="0"/>
                  </a:cubicBezTo>
                  <a:cubicBezTo>
                    <a:pt x="1081" y="0"/>
                    <a:pt x="1081" y="0"/>
                    <a:pt x="1081" y="0"/>
                  </a:cubicBezTo>
                  <a:cubicBezTo>
                    <a:pt x="1096" y="0"/>
                    <a:pt x="1127" y="15"/>
                    <a:pt x="1143" y="30"/>
                  </a:cubicBezTo>
                  <a:cubicBezTo>
                    <a:pt x="1158" y="46"/>
                    <a:pt x="1174" y="61"/>
                    <a:pt x="1174" y="77"/>
                  </a:cubicBezTo>
                  <a:cubicBezTo>
                    <a:pt x="1174" y="92"/>
                    <a:pt x="1174" y="92"/>
                    <a:pt x="1174" y="108"/>
                  </a:cubicBezTo>
                  <a:close/>
                </a:path>
              </a:pathLst>
            </a:custGeom>
            <a:solidFill>
              <a:srgbClr val="BDC1C5"/>
            </a:solidFill>
            <a:ln>
              <a:noFill/>
            </a:ln>
          </p:spPr>
          <p:txBody>
            <a:bodyPr spcFirstLastPara="1" wrap="square" lIns="90000" tIns="32400" rIns="90000" bIns="32400" anchor="ctr" anchorCtr="1">
              <a:noAutofit/>
            </a:bodyPr>
            <a:lstStyle/>
            <a:p>
              <a:endParaRPr lang="de-DE"/>
            </a:p>
          </p:txBody>
        </p:sp>
        <p:sp>
          <p:nvSpPr>
            <p:cNvPr id="10" name="Google Shape;741;p43">
              <a:extLst>
                <a:ext uri="{FF2B5EF4-FFF2-40B4-BE49-F238E27FC236}">
                  <a16:creationId xmlns:a16="http://schemas.microsoft.com/office/drawing/2014/main" id="{AD8FEF17-C7F3-860B-9468-44B1B3E50F00}"/>
                </a:ext>
              </a:extLst>
            </p:cNvPr>
            <p:cNvSpPr/>
            <p:nvPr/>
          </p:nvSpPr>
          <p:spPr>
            <a:xfrm>
              <a:off x="183960" y="1178280"/>
              <a:ext cx="422640" cy="78120"/>
            </a:xfrm>
            <a:custGeom>
              <a:avLst/>
              <a:gdLst/>
              <a:ahLst/>
              <a:cxnLst/>
              <a:rect l="l" t="t" r="r" b="b"/>
              <a:pathLst>
                <a:path w="1174" h="217" extrusionOk="0">
                  <a:moveTo>
                    <a:pt x="1174" y="108"/>
                  </a:moveTo>
                  <a:lnTo>
                    <a:pt x="1174" y="108"/>
                  </a:lnTo>
                  <a:cubicBezTo>
                    <a:pt x="1174" y="171"/>
                    <a:pt x="1127" y="217"/>
                    <a:pt x="1081" y="217"/>
                  </a:cubicBezTo>
                  <a:cubicBezTo>
                    <a:pt x="92" y="217"/>
                    <a:pt x="92" y="217"/>
                    <a:pt x="92" y="217"/>
                  </a:cubicBezTo>
                  <a:cubicBezTo>
                    <a:pt x="46" y="217"/>
                    <a:pt x="0" y="171"/>
                    <a:pt x="0" y="108"/>
                  </a:cubicBezTo>
                  <a:cubicBezTo>
                    <a:pt x="0" y="94"/>
                    <a:pt x="0" y="94"/>
                    <a:pt x="0" y="79"/>
                  </a:cubicBezTo>
                  <a:cubicBezTo>
                    <a:pt x="14" y="31"/>
                    <a:pt x="46" y="0"/>
                    <a:pt x="92" y="0"/>
                  </a:cubicBezTo>
                  <a:cubicBezTo>
                    <a:pt x="1081" y="0"/>
                    <a:pt x="1081" y="0"/>
                    <a:pt x="1081" y="0"/>
                  </a:cubicBezTo>
                  <a:cubicBezTo>
                    <a:pt x="1096" y="0"/>
                    <a:pt x="1127" y="17"/>
                    <a:pt x="1143" y="31"/>
                  </a:cubicBezTo>
                  <a:cubicBezTo>
                    <a:pt x="1158" y="48"/>
                    <a:pt x="1174" y="63"/>
                    <a:pt x="1174" y="79"/>
                  </a:cubicBezTo>
                  <a:cubicBezTo>
                    <a:pt x="1174" y="94"/>
                    <a:pt x="1174" y="94"/>
                    <a:pt x="1174" y="108"/>
                  </a:cubicBezTo>
                  <a:close/>
                </a:path>
              </a:pathLst>
            </a:custGeom>
            <a:solidFill>
              <a:srgbClr val="BDC1C5"/>
            </a:solidFill>
            <a:ln>
              <a:noFill/>
            </a:ln>
          </p:spPr>
          <p:txBody>
            <a:bodyPr spcFirstLastPara="1" wrap="square" lIns="90000" tIns="33100" rIns="90000" bIns="33100" anchor="ctr" anchorCtr="1">
              <a:noAutofit/>
            </a:bodyPr>
            <a:lstStyle/>
            <a:p>
              <a:endParaRPr lang="de-DE"/>
            </a:p>
          </p:txBody>
        </p:sp>
        <p:sp>
          <p:nvSpPr>
            <p:cNvPr id="11" name="Google Shape;742;p43">
              <a:extLst>
                <a:ext uri="{FF2B5EF4-FFF2-40B4-BE49-F238E27FC236}">
                  <a16:creationId xmlns:a16="http://schemas.microsoft.com/office/drawing/2014/main" id="{30B04ABB-B78A-D7D6-01DA-075101690E90}"/>
                </a:ext>
              </a:extLst>
            </p:cNvPr>
            <p:cNvSpPr/>
            <p:nvPr/>
          </p:nvSpPr>
          <p:spPr>
            <a:xfrm>
              <a:off x="183960" y="1256400"/>
              <a:ext cx="422640" cy="77760"/>
            </a:xfrm>
            <a:custGeom>
              <a:avLst/>
              <a:gdLst/>
              <a:ahLst/>
              <a:cxnLst/>
              <a:rect l="l" t="t" r="r" b="b"/>
              <a:pathLst>
                <a:path w="1174" h="216" extrusionOk="0">
                  <a:moveTo>
                    <a:pt x="1174" y="108"/>
                  </a:moveTo>
                  <a:lnTo>
                    <a:pt x="1174" y="108"/>
                  </a:lnTo>
                  <a:cubicBezTo>
                    <a:pt x="1174" y="170"/>
                    <a:pt x="1127" y="216"/>
                    <a:pt x="1081" y="216"/>
                  </a:cubicBezTo>
                  <a:cubicBezTo>
                    <a:pt x="92" y="216"/>
                    <a:pt x="92" y="216"/>
                    <a:pt x="92" y="216"/>
                  </a:cubicBezTo>
                  <a:cubicBezTo>
                    <a:pt x="46" y="216"/>
                    <a:pt x="0" y="170"/>
                    <a:pt x="0" y="108"/>
                  </a:cubicBezTo>
                  <a:cubicBezTo>
                    <a:pt x="0" y="93"/>
                    <a:pt x="0" y="93"/>
                    <a:pt x="0" y="77"/>
                  </a:cubicBezTo>
                  <a:cubicBezTo>
                    <a:pt x="14" y="31"/>
                    <a:pt x="46" y="0"/>
                    <a:pt x="92" y="0"/>
                  </a:cubicBezTo>
                  <a:cubicBezTo>
                    <a:pt x="1081" y="0"/>
                    <a:pt x="1081" y="0"/>
                    <a:pt x="1081" y="0"/>
                  </a:cubicBezTo>
                  <a:cubicBezTo>
                    <a:pt x="1096" y="0"/>
                    <a:pt x="1127" y="16"/>
                    <a:pt x="1143" y="31"/>
                  </a:cubicBezTo>
                  <a:cubicBezTo>
                    <a:pt x="1158" y="47"/>
                    <a:pt x="1174" y="62"/>
                    <a:pt x="1174" y="77"/>
                  </a:cubicBezTo>
                  <a:cubicBezTo>
                    <a:pt x="1174" y="93"/>
                    <a:pt x="1174" y="93"/>
                    <a:pt x="1174" y="108"/>
                  </a:cubicBezTo>
                  <a:close/>
                </a:path>
              </a:pathLst>
            </a:custGeom>
            <a:solidFill>
              <a:srgbClr val="BDC1C5"/>
            </a:solidFill>
            <a:ln>
              <a:noFill/>
            </a:ln>
          </p:spPr>
          <p:txBody>
            <a:bodyPr spcFirstLastPara="1" wrap="square" lIns="90000" tIns="32750" rIns="90000" bIns="32750" anchor="ctr" anchorCtr="1">
              <a:noAutofit/>
            </a:bodyPr>
            <a:lstStyle/>
            <a:p>
              <a:endParaRPr lang="de-DE"/>
            </a:p>
          </p:txBody>
        </p:sp>
        <p:sp>
          <p:nvSpPr>
            <p:cNvPr id="12" name="Google Shape;743;p43">
              <a:extLst>
                <a:ext uri="{FF2B5EF4-FFF2-40B4-BE49-F238E27FC236}">
                  <a16:creationId xmlns:a16="http://schemas.microsoft.com/office/drawing/2014/main" id="{11FB9F20-E237-063A-5F99-AE758BBF744D}"/>
                </a:ext>
              </a:extLst>
            </p:cNvPr>
            <p:cNvSpPr/>
            <p:nvPr/>
          </p:nvSpPr>
          <p:spPr>
            <a:xfrm>
              <a:off x="122400" y="333720"/>
              <a:ext cx="545040" cy="767160"/>
            </a:xfrm>
            <a:custGeom>
              <a:avLst/>
              <a:gdLst/>
              <a:ahLst/>
              <a:cxnLst/>
              <a:rect l="l" t="t" r="r" b="b"/>
              <a:pathLst>
                <a:path w="1514" h="2131" extrusionOk="0">
                  <a:moveTo>
                    <a:pt x="1020" y="2131"/>
                  </a:moveTo>
                  <a:lnTo>
                    <a:pt x="1020" y="2131"/>
                  </a:lnTo>
                  <a:cubicBezTo>
                    <a:pt x="958" y="2131"/>
                    <a:pt x="958" y="2131"/>
                    <a:pt x="958" y="2131"/>
                  </a:cubicBezTo>
                  <a:cubicBezTo>
                    <a:pt x="975" y="1157"/>
                    <a:pt x="975" y="1157"/>
                    <a:pt x="975" y="1157"/>
                  </a:cubicBezTo>
                  <a:cubicBezTo>
                    <a:pt x="1345" y="279"/>
                    <a:pt x="1345" y="279"/>
                    <a:pt x="1345" y="279"/>
                  </a:cubicBezTo>
                  <a:cubicBezTo>
                    <a:pt x="1206" y="279"/>
                    <a:pt x="989" y="231"/>
                    <a:pt x="943" y="185"/>
                  </a:cubicBezTo>
                  <a:cubicBezTo>
                    <a:pt x="927" y="170"/>
                    <a:pt x="912" y="154"/>
                    <a:pt x="912" y="139"/>
                  </a:cubicBezTo>
                  <a:cubicBezTo>
                    <a:pt x="866" y="154"/>
                    <a:pt x="804" y="154"/>
                    <a:pt x="773" y="154"/>
                  </a:cubicBezTo>
                  <a:cubicBezTo>
                    <a:pt x="727" y="154"/>
                    <a:pt x="665" y="154"/>
                    <a:pt x="604" y="139"/>
                  </a:cubicBezTo>
                  <a:cubicBezTo>
                    <a:pt x="604" y="154"/>
                    <a:pt x="587" y="170"/>
                    <a:pt x="573" y="185"/>
                  </a:cubicBezTo>
                  <a:cubicBezTo>
                    <a:pt x="525" y="231"/>
                    <a:pt x="310" y="279"/>
                    <a:pt x="171" y="279"/>
                  </a:cubicBezTo>
                  <a:cubicBezTo>
                    <a:pt x="556" y="1157"/>
                    <a:pt x="556" y="1157"/>
                    <a:pt x="556" y="1157"/>
                  </a:cubicBezTo>
                  <a:cubicBezTo>
                    <a:pt x="556" y="2131"/>
                    <a:pt x="556" y="2131"/>
                    <a:pt x="556" y="2131"/>
                  </a:cubicBezTo>
                  <a:cubicBezTo>
                    <a:pt x="495" y="2131"/>
                    <a:pt x="495" y="2131"/>
                    <a:pt x="495" y="2131"/>
                  </a:cubicBezTo>
                  <a:cubicBezTo>
                    <a:pt x="495" y="1173"/>
                    <a:pt x="495" y="1173"/>
                    <a:pt x="495" y="1173"/>
                  </a:cubicBezTo>
                  <a:cubicBezTo>
                    <a:pt x="108" y="279"/>
                    <a:pt x="108" y="279"/>
                    <a:pt x="108" y="279"/>
                  </a:cubicBezTo>
                  <a:cubicBezTo>
                    <a:pt x="77" y="279"/>
                    <a:pt x="62" y="262"/>
                    <a:pt x="48" y="262"/>
                  </a:cubicBezTo>
                  <a:cubicBezTo>
                    <a:pt x="16" y="247"/>
                    <a:pt x="0" y="216"/>
                    <a:pt x="0" y="201"/>
                  </a:cubicBezTo>
                  <a:cubicBezTo>
                    <a:pt x="16" y="185"/>
                    <a:pt x="16" y="139"/>
                    <a:pt x="48" y="139"/>
                  </a:cubicBezTo>
                  <a:cubicBezTo>
                    <a:pt x="77" y="123"/>
                    <a:pt x="108" y="170"/>
                    <a:pt x="125" y="185"/>
                  </a:cubicBezTo>
                  <a:cubicBezTo>
                    <a:pt x="140" y="231"/>
                    <a:pt x="140" y="231"/>
                    <a:pt x="140" y="231"/>
                  </a:cubicBezTo>
                  <a:cubicBezTo>
                    <a:pt x="279" y="231"/>
                    <a:pt x="495" y="185"/>
                    <a:pt x="541" y="139"/>
                  </a:cubicBezTo>
                  <a:lnTo>
                    <a:pt x="556" y="123"/>
                  </a:lnTo>
                  <a:cubicBezTo>
                    <a:pt x="525" y="108"/>
                    <a:pt x="495" y="93"/>
                    <a:pt x="495" y="77"/>
                  </a:cubicBezTo>
                  <a:cubicBezTo>
                    <a:pt x="479" y="62"/>
                    <a:pt x="495" y="46"/>
                    <a:pt x="510" y="31"/>
                  </a:cubicBezTo>
                  <a:cubicBezTo>
                    <a:pt x="525" y="0"/>
                    <a:pt x="556" y="0"/>
                    <a:pt x="573" y="0"/>
                  </a:cubicBezTo>
                  <a:cubicBezTo>
                    <a:pt x="604" y="0"/>
                    <a:pt x="619" y="31"/>
                    <a:pt x="619" y="62"/>
                  </a:cubicBezTo>
                  <a:cubicBezTo>
                    <a:pt x="619" y="62"/>
                    <a:pt x="619" y="77"/>
                    <a:pt x="619" y="93"/>
                  </a:cubicBezTo>
                  <a:cubicBezTo>
                    <a:pt x="665" y="93"/>
                    <a:pt x="711" y="108"/>
                    <a:pt x="773" y="108"/>
                  </a:cubicBezTo>
                  <a:cubicBezTo>
                    <a:pt x="819" y="108"/>
                    <a:pt x="850" y="93"/>
                    <a:pt x="896" y="93"/>
                  </a:cubicBezTo>
                  <a:cubicBezTo>
                    <a:pt x="896" y="77"/>
                    <a:pt x="896" y="62"/>
                    <a:pt x="896" y="62"/>
                  </a:cubicBezTo>
                  <a:cubicBezTo>
                    <a:pt x="896" y="31"/>
                    <a:pt x="912" y="0"/>
                    <a:pt x="943" y="0"/>
                  </a:cubicBezTo>
                  <a:cubicBezTo>
                    <a:pt x="958" y="0"/>
                    <a:pt x="989" y="0"/>
                    <a:pt x="1004" y="31"/>
                  </a:cubicBezTo>
                  <a:cubicBezTo>
                    <a:pt x="1035" y="46"/>
                    <a:pt x="1020" y="62"/>
                    <a:pt x="1020" y="77"/>
                  </a:cubicBezTo>
                  <a:cubicBezTo>
                    <a:pt x="1020" y="93"/>
                    <a:pt x="989" y="108"/>
                    <a:pt x="958" y="123"/>
                  </a:cubicBezTo>
                  <a:lnTo>
                    <a:pt x="975" y="139"/>
                  </a:lnTo>
                  <a:cubicBezTo>
                    <a:pt x="1020" y="185"/>
                    <a:pt x="1237" y="231"/>
                    <a:pt x="1375" y="231"/>
                  </a:cubicBezTo>
                  <a:cubicBezTo>
                    <a:pt x="1391" y="185"/>
                    <a:pt x="1391" y="185"/>
                    <a:pt x="1391" y="185"/>
                  </a:cubicBezTo>
                  <a:cubicBezTo>
                    <a:pt x="1406" y="170"/>
                    <a:pt x="1437" y="123"/>
                    <a:pt x="1468" y="139"/>
                  </a:cubicBezTo>
                  <a:cubicBezTo>
                    <a:pt x="1500" y="139"/>
                    <a:pt x="1500" y="185"/>
                    <a:pt x="1514" y="201"/>
                  </a:cubicBezTo>
                  <a:cubicBezTo>
                    <a:pt x="1514" y="216"/>
                    <a:pt x="1500" y="247"/>
                    <a:pt x="1468" y="262"/>
                  </a:cubicBezTo>
                  <a:cubicBezTo>
                    <a:pt x="1452" y="262"/>
                    <a:pt x="1437" y="279"/>
                    <a:pt x="1406" y="279"/>
                  </a:cubicBezTo>
                  <a:cubicBezTo>
                    <a:pt x="1020" y="1173"/>
                    <a:pt x="1020" y="1173"/>
                    <a:pt x="1020" y="1173"/>
                  </a:cubicBezTo>
                  <a:lnTo>
                    <a:pt x="1020" y="2131"/>
                  </a:lnTo>
                  <a:moveTo>
                    <a:pt x="1452" y="185"/>
                  </a:moveTo>
                  <a:lnTo>
                    <a:pt x="1452" y="185"/>
                  </a:lnTo>
                  <a:cubicBezTo>
                    <a:pt x="1452" y="201"/>
                    <a:pt x="1437" y="201"/>
                    <a:pt x="1437" y="216"/>
                  </a:cubicBezTo>
                  <a:cubicBezTo>
                    <a:pt x="1452" y="216"/>
                    <a:pt x="1452" y="201"/>
                    <a:pt x="1452" y="201"/>
                  </a:cubicBezTo>
                  <a:lnTo>
                    <a:pt x="1452" y="185"/>
                  </a:lnTo>
                  <a:moveTo>
                    <a:pt x="62" y="185"/>
                  </a:moveTo>
                  <a:lnTo>
                    <a:pt x="62" y="185"/>
                  </a:lnTo>
                  <a:cubicBezTo>
                    <a:pt x="62" y="201"/>
                    <a:pt x="62" y="201"/>
                    <a:pt x="62" y="201"/>
                  </a:cubicBezTo>
                  <a:cubicBezTo>
                    <a:pt x="62" y="201"/>
                    <a:pt x="62" y="216"/>
                    <a:pt x="77" y="216"/>
                  </a:cubicBezTo>
                  <a:lnTo>
                    <a:pt x="77" y="216"/>
                  </a:lnTo>
                  <a:cubicBezTo>
                    <a:pt x="77" y="201"/>
                    <a:pt x="62" y="201"/>
                    <a:pt x="62" y="185"/>
                  </a:cubicBezTo>
                  <a:moveTo>
                    <a:pt x="958" y="46"/>
                  </a:moveTo>
                  <a:lnTo>
                    <a:pt x="958" y="46"/>
                  </a:lnTo>
                  <a:lnTo>
                    <a:pt x="958" y="46"/>
                  </a:lnTo>
                  <a:lnTo>
                    <a:pt x="943" y="62"/>
                  </a:lnTo>
                  <a:cubicBezTo>
                    <a:pt x="943" y="77"/>
                    <a:pt x="943" y="77"/>
                    <a:pt x="943" y="77"/>
                  </a:cubicBezTo>
                  <a:cubicBezTo>
                    <a:pt x="958" y="62"/>
                    <a:pt x="958" y="62"/>
                    <a:pt x="975" y="62"/>
                  </a:cubicBezTo>
                  <a:cubicBezTo>
                    <a:pt x="958" y="62"/>
                    <a:pt x="958" y="46"/>
                    <a:pt x="958" y="46"/>
                  </a:cubicBezTo>
                  <a:moveTo>
                    <a:pt x="541" y="62"/>
                  </a:moveTo>
                  <a:lnTo>
                    <a:pt x="541" y="62"/>
                  </a:lnTo>
                  <a:cubicBezTo>
                    <a:pt x="556" y="62"/>
                    <a:pt x="556" y="62"/>
                    <a:pt x="573" y="77"/>
                  </a:cubicBezTo>
                  <a:lnTo>
                    <a:pt x="573" y="62"/>
                  </a:lnTo>
                  <a:lnTo>
                    <a:pt x="556" y="46"/>
                  </a:lnTo>
                  <a:lnTo>
                    <a:pt x="541" y="62"/>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3" name="Google Shape;744;p43">
              <a:extLst>
                <a:ext uri="{FF2B5EF4-FFF2-40B4-BE49-F238E27FC236}">
                  <a16:creationId xmlns:a16="http://schemas.microsoft.com/office/drawing/2014/main" id="{0C27C940-E319-86DB-9BDB-3A018703C337}"/>
                </a:ext>
              </a:extLst>
            </p:cNvPr>
            <p:cNvSpPr/>
            <p:nvPr/>
          </p:nvSpPr>
          <p:spPr>
            <a:xfrm>
              <a:off x="333720" y="378000"/>
              <a:ext cx="50400" cy="194760"/>
            </a:xfrm>
            <a:custGeom>
              <a:avLst/>
              <a:gdLst/>
              <a:ahLst/>
              <a:cxnLst/>
              <a:rect l="l" t="t" r="r" b="b"/>
              <a:pathLst>
                <a:path w="140" h="541" extrusionOk="0">
                  <a:moveTo>
                    <a:pt x="78" y="541"/>
                  </a:moveTo>
                  <a:lnTo>
                    <a:pt x="0" y="16"/>
                  </a:lnTo>
                  <a:lnTo>
                    <a:pt x="46" y="0"/>
                  </a:lnTo>
                  <a:lnTo>
                    <a:pt x="140" y="541"/>
                  </a:lnTo>
                  <a:lnTo>
                    <a:pt x="78" y="541"/>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4" name="Google Shape;745;p43">
              <a:extLst>
                <a:ext uri="{FF2B5EF4-FFF2-40B4-BE49-F238E27FC236}">
                  <a16:creationId xmlns:a16="http://schemas.microsoft.com/office/drawing/2014/main" id="{67FEBB0D-D345-75CE-2467-90862F8CD441}"/>
                </a:ext>
              </a:extLst>
            </p:cNvPr>
            <p:cNvSpPr/>
            <p:nvPr/>
          </p:nvSpPr>
          <p:spPr>
            <a:xfrm>
              <a:off x="406440" y="378000"/>
              <a:ext cx="49680" cy="194760"/>
            </a:xfrm>
            <a:custGeom>
              <a:avLst/>
              <a:gdLst/>
              <a:ahLst/>
              <a:cxnLst/>
              <a:rect l="l" t="t" r="r" b="b"/>
              <a:pathLst>
                <a:path w="138" h="541" extrusionOk="0">
                  <a:moveTo>
                    <a:pt x="61" y="541"/>
                  </a:moveTo>
                  <a:lnTo>
                    <a:pt x="0" y="541"/>
                  </a:lnTo>
                  <a:lnTo>
                    <a:pt x="92" y="0"/>
                  </a:lnTo>
                  <a:lnTo>
                    <a:pt x="138" y="16"/>
                  </a:lnTo>
                  <a:lnTo>
                    <a:pt x="61" y="541"/>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5" name="Google Shape;746;p43">
              <a:extLst>
                <a:ext uri="{FF2B5EF4-FFF2-40B4-BE49-F238E27FC236}">
                  <a16:creationId xmlns:a16="http://schemas.microsoft.com/office/drawing/2014/main" id="{F784B3E2-E9EE-4D58-BC57-429016C640F6}"/>
                </a:ext>
              </a:extLst>
            </p:cNvPr>
            <p:cNvSpPr/>
            <p:nvPr/>
          </p:nvSpPr>
          <p:spPr>
            <a:xfrm>
              <a:off x="333720" y="550440"/>
              <a:ext cx="122400" cy="38880"/>
            </a:xfrm>
            <a:custGeom>
              <a:avLst/>
              <a:gdLst/>
              <a:ahLst/>
              <a:cxnLst/>
              <a:rect l="l" t="t" r="r" b="b"/>
              <a:pathLst>
                <a:path w="340" h="108" extrusionOk="0">
                  <a:moveTo>
                    <a:pt x="340" y="47"/>
                  </a:moveTo>
                  <a:lnTo>
                    <a:pt x="340" y="47"/>
                  </a:lnTo>
                  <a:cubicBezTo>
                    <a:pt x="340" y="77"/>
                    <a:pt x="309" y="108"/>
                    <a:pt x="279" y="108"/>
                  </a:cubicBezTo>
                  <a:cubicBezTo>
                    <a:pt x="63" y="108"/>
                    <a:pt x="63" y="108"/>
                    <a:pt x="63" y="108"/>
                  </a:cubicBezTo>
                  <a:cubicBezTo>
                    <a:pt x="32" y="108"/>
                    <a:pt x="0" y="77"/>
                    <a:pt x="0" y="47"/>
                  </a:cubicBezTo>
                  <a:lnTo>
                    <a:pt x="0" y="47"/>
                  </a:lnTo>
                  <a:cubicBezTo>
                    <a:pt x="0" y="31"/>
                    <a:pt x="32" y="0"/>
                    <a:pt x="63" y="0"/>
                  </a:cubicBezTo>
                  <a:cubicBezTo>
                    <a:pt x="279" y="0"/>
                    <a:pt x="279" y="0"/>
                    <a:pt x="279" y="0"/>
                  </a:cubicBezTo>
                  <a:cubicBezTo>
                    <a:pt x="309" y="0"/>
                    <a:pt x="340" y="31"/>
                    <a:pt x="340" y="47"/>
                  </a:cubicBezTo>
                  <a:close/>
                </a:path>
              </a:pathLst>
            </a:custGeom>
            <a:solidFill>
              <a:srgbClr val="F5F3EF"/>
            </a:solidFill>
            <a:ln>
              <a:noFill/>
            </a:ln>
          </p:spPr>
          <p:txBody>
            <a:bodyPr spcFirstLastPara="1" wrap="square" lIns="90000" tIns="0" rIns="90000" bIns="0" anchor="ctr" anchorCtr="1">
              <a:noAutofit/>
            </a:bodyPr>
            <a:lstStyle/>
            <a:p>
              <a:endParaRPr lang="de-DE"/>
            </a:p>
          </p:txBody>
        </p:sp>
        <p:sp>
          <p:nvSpPr>
            <p:cNvPr id="16" name="Google Shape;747;p43">
              <a:extLst>
                <a:ext uri="{FF2B5EF4-FFF2-40B4-BE49-F238E27FC236}">
                  <a16:creationId xmlns:a16="http://schemas.microsoft.com/office/drawing/2014/main" id="{553BB643-8389-7718-52EA-0A379637AF0A}"/>
                </a:ext>
              </a:extLst>
            </p:cNvPr>
            <p:cNvSpPr/>
            <p:nvPr/>
          </p:nvSpPr>
          <p:spPr>
            <a:xfrm>
              <a:off x="367560" y="550440"/>
              <a:ext cx="55440" cy="272520"/>
            </a:xfrm>
            <a:custGeom>
              <a:avLst/>
              <a:gdLst/>
              <a:ahLst/>
              <a:cxnLst/>
              <a:rect l="l" t="t" r="r" b="b"/>
              <a:pathLst>
                <a:path w="154" h="757" extrusionOk="0">
                  <a:moveTo>
                    <a:pt x="154" y="648"/>
                  </a:moveTo>
                  <a:lnTo>
                    <a:pt x="154" y="648"/>
                  </a:lnTo>
                  <a:cubicBezTo>
                    <a:pt x="154" y="711"/>
                    <a:pt x="123" y="757"/>
                    <a:pt x="77" y="757"/>
                  </a:cubicBezTo>
                  <a:lnTo>
                    <a:pt x="77" y="757"/>
                  </a:lnTo>
                  <a:cubicBezTo>
                    <a:pt x="30" y="757"/>
                    <a:pt x="0" y="711"/>
                    <a:pt x="0" y="648"/>
                  </a:cubicBezTo>
                  <a:cubicBezTo>
                    <a:pt x="0" y="124"/>
                    <a:pt x="0" y="124"/>
                    <a:pt x="0" y="124"/>
                  </a:cubicBezTo>
                  <a:cubicBezTo>
                    <a:pt x="0" y="47"/>
                    <a:pt x="30" y="0"/>
                    <a:pt x="77" y="0"/>
                  </a:cubicBezTo>
                  <a:lnTo>
                    <a:pt x="77" y="0"/>
                  </a:lnTo>
                  <a:cubicBezTo>
                    <a:pt x="123" y="0"/>
                    <a:pt x="154" y="47"/>
                    <a:pt x="154" y="124"/>
                  </a:cubicBezTo>
                  <a:lnTo>
                    <a:pt x="154" y="648"/>
                  </a:lnTo>
                  <a:close/>
                </a:path>
              </a:pathLst>
            </a:custGeom>
            <a:solidFill>
              <a:srgbClr val="F5F3EF"/>
            </a:solidFill>
            <a:ln>
              <a:noFill/>
            </a:ln>
          </p:spPr>
          <p:txBody>
            <a:bodyPr spcFirstLastPara="1" wrap="square" lIns="90000" tIns="45000" rIns="90000" bIns="45000" anchor="ctr" anchorCtr="1">
              <a:noAutofit/>
            </a:bodyPr>
            <a:lstStyle/>
            <a:p>
              <a:endParaRPr lang="de-DE"/>
            </a:p>
          </p:txBody>
        </p:sp>
        <p:sp>
          <p:nvSpPr>
            <p:cNvPr id="17" name="Google Shape;748;p43">
              <a:extLst>
                <a:ext uri="{FF2B5EF4-FFF2-40B4-BE49-F238E27FC236}">
                  <a16:creationId xmlns:a16="http://schemas.microsoft.com/office/drawing/2014/main" id="{3A3055AE-062D-D121-3C04-58155D832958}"/>
                </a:ext>
              </a:extLst>
            </p:cNvPr>
            <p:cNvSpPr/>
            <p:nvPr/>
          </p:nvSpPr>
          <p:spPr>
            <a:xfrm>
              <a:off x="367560" y="806400"/>
              <a:ext cx="60840" cy="294480"/>
            </a:xfrm>
            <a:custGeom>
              <a:avLst/>
              <a:gdLst/>
              <a:ahLst/>
              <a:cxnLst/>
              <a:rect l="l" t="t" r="r" b="b"/>
              <a:pathLst>
                <a:path w="169" h="818" extrusionOk="0">
                  <a:moveTo>
                    <a:pt x="169" y="818"/>
                  </a:moveTo>
                  <a:lnTo>
                    <a:pt x="169" y="818"/>
                  </a:lnTo>
                  <a:cubicBezTo>
                    <a:pt x="169" y="92"/>
                    <a:pt x="169" y="92"/>
                    <a:pt x="169" y="92"/>
                  </a:cubicBezTo>
                  <a:cubicBezTo>
                    <a:pt x="169" y="46"/>
                    <a:pt x="138" y="0"/>
                    <a:pt x="77" y="0"/>
                  </a:cubicBezTo>
                  <a:cubicBezTo>
                    <a:pt x="30" y="0"/>
                    <a:pt x="0" y="46"/>
                    <a:pt x="0" y="92"/>
                  </a:cubicBezTo>
                  <a:cubicBezTo>
                    <a:pt x="0" y="818"/>
                    <a:pt x="0" y="818"/>
                    <a:pt x="0" y="818"/>
                  </a:cubicBezTo>
                  <a:lnTo>
                    <a:pt x="169" y="818"/>
                  </a:lnTo>
                  <a:close/>
                </a:path>
              </a:pathLst>
            </a:custGeom>
            <a:solidFill>
              <a:srgbClr val="A15315"/>
            </a:solidFill>
            <a:ln>
              <a:noFill/>
            </a:ln>
          </p:spPr>
          <p:txBody>
            <a:bodyPr spcFirstLastPara="1" wrap="square" lIns="90000" tIns="45000" rIns="90000" bIns="45000" anchor="ctr" anchorCtr="1">
              <a:noAutofit/>
            </a:bodyPr>
            <a:lstStyle/>
            <a:p>
              <a:endParaRPr lang="de-DE"/>
            </a:p>
          </p:txBody>
        </p:sp>
      </p:grpSp>
      <p:sp>
        <p:nvSpPr>
          <p:cNvPr id="18" name="Untertitel 3">
            <a:extLst>
              <a:ext uri="{FF2B5EF4-FFF2-40B4-BE49-F238E27FC236}">
                <a16:creationId xmlns:a16="http://schemas.microsoft.com/office/drawing/2014/main" id="{9D402FC9-B003-6ABB-29C8-CFE131F86AFE}"/>
              </a:ext>
            </a:extLst>
          </p:cNvPr>
          <p:cNvSpPr txBox="1">
            <a:spLocks/>
          </p:cNvSpPr>
          <p:nvPr/>
        </p:nvSpPr>
        <p:spPr>
          <a:xfrm>
            <a:off x="1651260" y="2263830"/>
            <a:ext cx="5256866" cy="60481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A multimeter is a handy tool that can measure electrical quantities like voltage, current and resistance. Here’s a simple guide on how to use it, along with an explanation of its key parts and steps.</a:t>
            </a:r>
          </a:p>
          <a:p>
            <a:endParaRPr lang="en-US" sz="1200"/>
          </a:p>
        </p:txBody>
      </p:sp>
      <p:sp>
        <p:nvSpPr>
          <p:cNvPr id="19" name="Untertitel 5">
            <a:extLst>
              <a:ext uri="{FF2B5EF4-FFF2-40B4-BE49-F238E27FC236}">
                <a16:creationId xmlns:a16="http://schemas.microsoft.com/office/drawing/2014/main" id="{14F227C7-A804-2912-72FE-C68256D689CF}"/>
              </a:ext>
            </a:extLst>
          </p:cNvPr>
          <p:cNvSpPr txBox="1">
            <a:spLocks/>
          </p:cNvSpPr>
          <p:nvPr/>
        </p:nvSpPr>
        <p:spPr>
          <a:xfrm>
            <a:off x="1651260" y="1883003"/>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500" err="1">
                <a:solidFill>
                  <a:schemeClr val="accent5"/>
                </a:solidFill>
              </a:rPr>
              <a:t>What</a:t>
            </a:r>
            <a:r>
              <a:rPr lang="de-DE" sz="1500">
                <a:solidFill>
                  <a:schemeClr val="accent5"/>
                </a:solidFill>
              </a:rPr>
              <a:t> </a:t>
            </a:r>
            <a:r>
              <a:rPr lang="de-DE" sz="1500" err="1">
                <a:solidFill>
                  <a:schemeClr val="accent5"/>
                </a:solidFill>
              </a:rPr>
              <a:t>is</a:t>
            </a:r>
            <a:r>
              <a:rPr lang="de-DE" sz="1500">
                <a:solidFill>
                  <a:schemeClr val="accent5"/>
                </a:solidFill>
              </a:rPr>
              <a:t> a Multimeter?</a:t>
            </a:r>
          </a:p>
        </p:txBody>
      </p:sp>
      <p:sp>
        <p:nvSpPr>
          <p:cNvPr id="20" name="Untertitel 3">
            <a:extLst>
              <a:ext uri="{FF2B5EF4-FFF2-40B4-BE49-F238E27FC236}">
                <a16:creationId xmlns:a16="http://schemas.microsoft.com/office/drawing/2014/main" id="{ADB275A6-C53A-7E16-0F8B-E7526A30BE8E}"/>
              </a:ext>
            </a:extLst>
          </p:cNvPr>
          <p:cNvSpPr txBox="1">
            <a:spLocks/>
          </p:cNvSpPr>
          <p:nvPr/>
        </p:nvSpPr>
        <p:spPr>
          <a:xfrm>
            <a:off x="719137" y="3691980"/>
            <a:ext cx="3852863"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rgbClr val="4E749C"/>
              </a:buClr>
              <a:buFont typeface="+mj-lt"/>
              <a:buAutoNum type="arabicPeriod"/>
            </a:pPr>
            <a:r>
              <a:rPr lang="en-US" sz="1200" b="1" i="1"/>
              <a:t>Display: </a:t>
            </a:r>
            <a:r>
              <a:rPr lang="en-US" sz="1200"/>
              <a:t>Shows the measurement results.</a:t>
            </a:r>
          </a:p>
          <a:p>
            <a:pPr>
              <a:buClr>
                <a:srgbClr val="4E749C"/>
              </a:buClr>
              <a:buFont typeface="+mj-lt"/>
              <a:buAutoNum type="arabicPeriod"/>
            </a:pPr>
            <a:r>
              <a:rPr lang="en-US" sz="1200"/>
              <a:t>Dial/Selector Switch: Used to select the quantity you want to measure (voltage, current, or resistance).</a:t>
            </a:r>
          </a:p>
          <a:p>
            <a:pPr>
              <a:buClr>
                <a:srgbClr val="4E749C"/>
              </a:buClr>
              <a:buFont typeface="+mj-lt"/>
              <a:buAutoNum type="arabicPeriod"/>
            </a:pPr>
            <a:r>
              <a:rPr lang="en-US" sz="1200" b="1" i="1"/>
              <a:t>Probes</a:t>
            </a:r>
            <a:r>
              <a:rPr lang="en-US" sz="1200"/>
              <a:t>: Two wires with metal tips that you hold against the point you want to measure. The red probe is usually for positive connections, and the black probe is for negative connections.</a:t>
            </a:r>
          </a:p>
          <a:p>
            <a:pPr>
              <a:buClr>
                <a:srgbClr val="4E749C"/>
              </a:buClr>
              <a:buFont typeface="+mj-lt"/>
              <a:buAutoNum type="arabicPeriod"/>
            </a:pPr>
            <a:r>
              <a:rPr lang="en-US" sz="1200" b="1" i="1"/>
              <a:t>Ports</a:t>
            </a:r>
            <a:r>
              <a:rPr lang="en-US" sz="1200"/>
              <a:t>: Sockets where you plug in the probes. There are usually three:</a:t>
            </a:r>
          </a:p>
          <a:p>
            <a:pPr lvl="1" algn="l">
              <a:buFont typeface="Arial" panose="020B0604020202020204" pitchFamily="34" charset="0"/>
              <a:buChar char="•"/>
            </a:pPr>
            <a:r>
              <a:rPr lang="en-US" sz="1200"/>
              <a:t>COM: Common port, always for the black probe.</a:t>
            </a:r>
          </a:p>
          <a:p>
            <a:pPr lvl="1" algn="l">
              <a:buFont typeface="Arial" panose="020B0604020202020204" pitchFamily="34" charset="0"/>
              <a:buChar char="•"/>
            </a:pPr>
            <a:r>
              <a:rPr lang="en-US" sz="1200" err="1"/>
              <a:t>VΩmA</a:t>
            </a:r>
            <a:r>
              <a:rPr lang="en-US" sz="1200"/>
              <a:t>: For the red probe when measuring voltage, resistance, or small currents.</a:t>
            </a:r>
          </a:p>
          <a:p>
            <a:pPr lvl="1" algn="l">
              <a:buFont typeface="Arial" panose="020B0604020202020204" pitchFamily="34" charset="0"/>
              <a:buChar char="•"/>
            </a:pPr>
            <a:r>
              <a:rPr lang="en-US" sz="1200"/>
              <a:t>10A: For the red probe when measuring high currents.</a:t>
            </a:r>
          </a:p>
          <a:p>
            <a:endParaRPr lang="en-US" sz="1200"/>
          </a:p>
        </p:txBody>
      </p:sp>
      <p:sp>
        <p:nvSpPr>
          <p:cNvPr id="21" name="Untertitel 5">
            <a:extLst>
              <a:ext uri="{FF2B5EF4-FFF2-40B4-BE49-F238E27FC236}">
                <a16:creationId xmlns:a16="http://schemas.microsoft.com/office/drawing/2014/main" id="{E66736C9-2D9B-3583-01F1-392C5ADBE345}"/>
              </a:ext>
            </a:extLst>
          </p:cNvPr>
          <p:cNvSpPr txBox="1">
            <a:spLocks/>
          </p:cNvSpPr>
          <p:nvPr/>
        </p:nvSpPr>
        <p:spPr>
          <a:xfrm>
            <a:off x="719138" y="3311153"/>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500">
                <a:solidFill>
                  <a:schemeClr val="accent5"/>
                </a:solidFill>
              </a:rPr>
              <a:t>Parts </a:t>
            </a:r>
            <a:r>
              <a:rPr lang="de-DE" sz="1500" err="1">
                <a:solidFill>
                  <a:schemeClr val="accent5"/>
                </a:solidFill>
              </a:rPr>
              <a:t>of</a:t>
            </a:r>
            <a:r>
              <a:rPr lang="de-DE" sz="1500">
                <a:solidFill>
                  <a:schemeClr val="accent5"/>
                </a:solidFill>
              </a:rPr>
              <a:t> a Multimeter</a:t>
            </a:r>
          </a:p>
        </p:txBody>
      </p:sp>
      <p:pic>
        <p:nvPicPr>
          <p:cNvPr id="22" name="Picture 1" descr="A close-up of a digital multimeter&#10;&#10;Description automatically generated">
            <a:extLst>
              <a:ext uri="{FF2B5EF4-FFF2-40B4-BE49-F238E27FC236}">
                <a16:creationId xmlns:a16="http://schemas.microsoft.com/office/drawing/2014/main" id="{0D108504-4CE1-D8E9-1280-D9A916ABDF4F}"/>
              </a:ext>
            </a:extLst>
          </p:cNvPr>
          <p:cNvPicPr>
            <a:picLocks noChangeAspect="1"/>
          </p:cNvPicPr>
          <p:nvPr/>
        </p:nvPicPr>
        <p:blipFill rotWithShape="1">
          <a:blip r:embed="rId2">
            <a:extLst>
              <a:ext uri="{28A0092B-C50C-407E-A947-70E740481C1C}">
                <a14:useLocalDpi xmlns:a14="http://schemas.microsoft.com/office/drawing/2010/main" val="0"/>
              </a:ext>
            </a:extLst>
          </a:blip>
          <a:srcRect l="38507" t="3920" r="18131" b="5397"/>
          <a:stretch/>
        </p:blipFill>
        <p:spPr bwMode="auto">
          <a:xfrm>
            <a:off x="4754675" y="3520473"/>
            <a:ext cx="2285887" cy="2688738"/>
          </a:xfrm>
          <a:prstGeom prst="rect">
            <a:avLst/>
          </a:prstGeom>
          <a:ln>
            <a:noFill/>
          </a:ln>
          <a:extLst>
            <a:ext uri="{53640926-AAD7-44D8-BBD7-CCE9431645EC}">
              <a14:shadowObscured xmlns:a14="http://schemas.microsoft.com/office/drawing/2010/main"/>
            </a:ext>
          </a:extLst>
        </p:spPr>
      </p:pic>
      <p:sp>
        <p:nvSpPr>
          <p:cNvPr id="23" name="Untertitel 3">
            <a:extLst>
              <a:ext uri="{FF2B5EF4-FFF2-40B4-BE49-F238E27FC236}">
                <a16:creationId xmlns:a16="http://schemas.microsoft.com/office/drawing/2014/main" id="{2785BB2D-B0B1-8459-16E4-9FAEC5F1B39C}"/>
              </a:ext>
            </a:extLst>
          </p:cNvPr>
          <p:cNvSpPr txBox="1">
            <a:spLocks/>
          </p:cNvSpPr>
          <p:nvPr/>
        </p:nvSpPr>
        <p:spPr>
          <a:xfrm>
            <a:off x="719137" y="7675111"/>
            <a:ext cx="6030186"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rgbClr val="4E749C"/>
              </a:buClr>
              <a:buFont typeface="+mj-lt"/>
              <a:buAutoNum type="arabicPeriod"/>
            </a:pPr>
            <a:r>
              <a:rPr lang="en-US" sz="1200" b="1" i="1"/>
              <a:t>Turn on the Multimeter</a:t>
            </a:r>
            <a:r>
              <a:rPr lang="en-US" sz="1200"/>
              <a:t>: Make sure the multimeter is on by turning the dial.</a:t>
            </a:r>
          </a:p>
          <a:p>
            <a:pPr>
              <a:buClr>
                <a:srgbClr val="4E749C"/>
              </a:buClr>
              <a:buFont typeface="+mj-lt"/>
              <a:buAutoNum type="arabicPeriod"/>
            </a:pPr>
            <a:r>
              <a:rPr lang="en-US" sz="1200" b="1" i="1"/>
              <a:t>Select the Measurement Type</a:t>
            </a:r>
            <a:r>
              <a:rPr lang="en-US" sz="1200"/>
              <a:t>:</a:t>
            </a:r>
          </a:p>
          <a:p>
            <a:pPr lvl="1" algn="l">
              <a:buFont typeface="Arial" panose="020B0604020202020204" pitchFamily="34" charset="0"/>
              <a:buChar char="•"/>
            </a:pPr>
            <a:r>
              <a:rPr lang="en-US" sz="1200"/>
              <a:t>Voltage (V): To measure voltage, turn the dial to "V" with a straight line (for DC voltage) or a wavy line (for AC voltage).</a:t>
            </a:r>
          </a:p>
          <a:p>
            <a:pPr lvl="1" algn="l">
              <a:buFont typeface="Arial" panose="020B0604020202020204" pitchFamily="34" charset="0"/>
              <a:buChar char="•"/>
            </a:pPr>
            <a:r>
              <a:rPr lang="en-US" sz="1200"/>
              <a:t>Current (A): To measure current, turn the dial to "A" with the corresponding symbol. Choose between "mA" (milliamps) and "A" (amps) depending on the expected current.  we usually just use mA!</a:t>
            </a:r>
          </a:p>
          <a:p>
            <a:pPr lvl="1" algn="l">
              <a:buFont typeface="Arial" panose="020B0604020202020204" pitchFamily="34" charset="0"/>
              <a:buChar char="•"/>
            </a:pPr>
            <a:r>
              <a:rPr lang="en-US" sz="1200"/>
              <a:t>Resistance (Ω): To measure resistance, turn the dial to the "Ω" symbol.</a:t>
            </a:r>
          </a:p>
        </p:txBody>
      </p:sp>
      <p:sp>
        <p:nvSpPr>
          <p:cNvPr id="24" name="Untertitel 5">
            <a:extLst>
              <a:ext uri="{FF2B5EF4-FFF2-40B4-BE49-F238E27FC236}">
                <a16:creationId xmlns:a16="http://schemas.microsoft.com/office/drawing/2014/main" id="{8BB4E438-D041-97D3-C1DF-91CB8C7B1078}"/>
              </a:ext>
            </a:extLst>
          </p:cNvPr>
          <p:cNvSpPr txBox="1">
            <a:spLocks/>
          </p:cNvSpPr>
          <p:nvPr/>
        </p:nvSpPr>
        <p:spPr>
          <a:xfrm>
            <a:off x="719138" y="7294284"/>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500">
                <a:solidFill>
                  <a:schemeClr val="accent5"/>
                </a:solidFill>
              </a:rPr>
              <a:t>Important Steps to Use a Multimeter</a:t>
            </a:r>
            <a:endParaRPr lang="de-DE" sz="1500">
              <a:solidFill>
                <a:schemeClr val="accent5"/>
              </a:solidFill>
            </a:endParaRPr>
          </a:p>
        </p:txBody>
      </p:sp>
    </p:spTree>
    <p:extLst>
      <p:ext uri="{BB962C8B-B14F-4D97-AF65-F5344CB8AC3E}">
        <p14:creationId xmlns:p14="http://schemas.microsoft.com/office/powerpoint/2010/main" val="6569489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5CA5E0A-ECB6-AE7D-D47D-FF529AC2C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25CA5E0A-ECB6-AE7D-D47D-FF529AC2C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0A50D201-B741-512D-542F-E1CAB2163A00}"/>
              </a:ext>
            </a:extLst>
          </p:cNvPr>
          <p:cNvSpPr>
            <a:spLocks noGrp="1"/>
          </p:cNvSpPr>
          <p:nvPr>
            <p:ph type="sldNum" sz="quarter" idx="4"/>
          </p:nvPr>
        </p:nvSpPr>
        <p:spPr/>
        <p:txBody>
          <a:bodyPr/>
          <a:lstStyle/>
          <a:p>
            <a:fld id="{DF7F771E-9578-4C04-B869-01AF4C35C90C}" type="slidenum">
              <a:rPr lang="de-DE" smtClean="0"/>
              <a:t>63</a:t>
            </a:fld>
            <a:endParaRPr lang="de-DE"/>
          </a:p>
        </p:txBody>
      </p:sp>
      <p:sp>
        <p:nvSpPr>
          <p:cNvPr id="8" name="Untertitel 3">
            <a:extLst>
              <a:ext uri="{FF2B5EF4-FFF2-40B4-BE49-F238E27FC236}">
                <a16:creationId xmlns:a16="http://schemas.microsoft.com/office/drawing/2014/main" id="{AEF34621-DF1B-DD10-2DE7-99C74C9E38F2}"/>
              </a:ext>
            </a:extLst>
          </p:cNvPr>
          <p:cNvSpPr txBox="1">
            <a:spLocks/>
          </p:cNvSpPr>
          <p:nvPr/>
        </p:nvSpPr>
        <p:spPr>
          <a:xfrm>
            <a:off x="731189" y="1277938"/>
            <a:ext cx="6030186" cy="534097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
                <a:srgbClr val="4E749C"/>
              </a:buClr>
              <a:buFont typeface="+mj-lt"/>
              <a:buAutoNum type="arabicPeriod" startAt="3"/>
            </a:pPr>
            <a:r>
              <a:rPr lang="en-US" sz="1200" b="1" i="1"/>
              <a:t>Set the Range</a:t>
            </a:r>
            <a:r>
              <a:rPr lang="en-US" sz="1200"/>
              <a:t>:</a:t>
            </a:r>
          </a:p>
          <a:p>
            <a:pPr lvl="1" algn="l">
              <a:buFont typeface="Arial" panose="020B0604020202020204" pitchFamily="34" charset="0"/>
              <a:buChar char="•"/>
            </a:pPr>
            <a:r>
              <a:rPr lang="en-US" sz="1200"/>
              <a:t>When measuring voltage, current, or resistance, it’s important to set the multimeter to the highest expected range first. This prevents damage to the multimeter and ensures safety.</a:t>
            </a:r>
          </a:p>
          <a:p>
            <a:pPr lvl="1" algn="l">
              <a:buFont typeface="Arial" panose="020B0604020202020204" pitchFamily="34" charset="0"/>
              <a:buChar char="•"/>
            </a:pPr>
            <a:r>
              <a:rPr lang="en-US" sz="1200"/>
              <a:t>For example, if you expect to measure a current up to 5A, set the dial to the 10A range first.</a:t>
            </a:r>
          </a:p>
          <a:p>
            <a:pPr>
              <a:buClr>
                <a:srgbClr val="4E749C"/>
              </a:buClr>
              <a:buFont typeface="+mj-lt"/>
              <a:buAutoNum type="arabicPeriod" startAt="3"/>
            </a:pPr>
            <a:r>
              <a:rPr lang="en-US" sz="1200" b="1" i="1"/>
              <a:t>Connect the Probes</a:t>
            </a:r>
            <a:r>
              <a:rPr lang="en-US" sz="1200"/>
              <a:t>:</a:t>
            </a:r>
          </a:p>
          <a:p>
            <a:pPr lvl="1" algn="l">
              <a:buFont typeface="Arial" panose="020B0604020202020204" pitchFamily="34" charset="0"/>
              <a:buChar char="•"/>
            </a:pPr>
            <a:r>
              <a:rPr lang="en-US" sz="1200"/>
              <a:t>Plug the black probe into the "COM" port.</a:t>
            </a:r>
          </a:p>
          <a:p>
            <a:pPr lvl="1" algn="l">
              <a:buFont typeface="Arial" panose="020B0604020202020204" pitchFamily="34" charset="0"/>
              <a:buChar char="•"/>
            </a:pPr>
            <a:r>
              <a:rPr lang="en-US" sz="1200"/>
              <a:t>Plug the red probe into the appropriate port:</a:t>
            </a:r>
          </a:p>
          <a:p>
            <a:pPr lvl="2" algn="l">
              <a:buFont typeface="Arial" panose="020B0604020202020204" pitchFamily="34" charset="0"/>
              <a:buChar char="•"/>
            </a:pPr>
            <a:r>
              <a:rPr lang="en-US" sz="1200"/>
              <a:t>For voltage and resistance measurements, use "</a:t>
            </a:r>
            <a:r>
              <a:rPr lang="en-US" sz="1200" err="1"/>
              <a:t>VΩmA</a:t>
            </a:r>
            <a:r>
              <a:rPr lang="en-US" sz="1200"/>
              <a:t>".</a:t>
            </a:r>
          </a:p>
          <a:p>
            <a:pPr lvl="2" algn="l">
              <a:buFont typeface="Arial" panose="020B0604020202020204" pitchFamily="34" charset="0"/>
              <a:buChar char="•"/>
            </a:pPr>
            <a:r>
              <a:rPr lang="en-US" sz="1200"/>
              <a:t>For current measurements, use "</a:t>
            </a:r>
            <a:r>
              <a:rPr lang="en-US" sz="1200" err="1"/>
              <a:t>VΩmA</a:t>
            </a:r>
            <a:r>
              <a:rPr lang="en-US" sz="1200"/>
              <a:t>" or "10A" depending on the current.</a:t>
            </a:r>
          </a:p>
          <a:p>
            <a:pPr>
              <a:buClr>
                <a:srgbClr val="4E749C"/>
              </a:buClr>
              <a:buFont typeface="+mj-lt"/>
              <a:buAutoNum type="arabicPeriod" startAt="3"/>
            </a:pPr>
            <a:r>
              <a:rPr lang="en-US" sz="1200" b="1" i="1"/>
              <a:t>Take the Measurement</a:t>
            </a:r>
            <a:r>
              <a:rPr lang="en-US" sz="1200"/>
              <a:t>:</a:t>
            </a:r>
          </a:p>
          <a:p>
            <a:pPr lvl="1" algn="l">
              <a:buFont typeface="Arial" panose="020B0604020202020204" pitchFamily="34" charset="0"/>
              <a:buChar char="•"/>
            </a:pPr>
            <a:r>
              <a:rPr lang="en-US" sz="1200"/>
              <a:t>Voltage: Hold the metal tips of the probes against the two points where you want to measure the voltage. Make sure to observe the correct polarity (positive and negative).</a:t>
            </a:r>
          </a:p>
          <a:p>
            <a:pPr lvl="1" algn="l">
              <a:buFont typeface="Arial" panose="020B0604020202020204" pitchFamily="34" charset="0"/>
              <a:buChar char="•"/>
            </a:pPr>
            <a:r>
              <a:rPr lang="en-US" sz="1200"/>
              <a:t>Current: Insert the multimeter into the circuit by breaking the circuit and connecting the multimeter in between so that the current flows through the multimeter.</a:t>
            </a:r>
          </a:p>
          <a:p>
            <a:pPr lvl="1" algn="l">
              <a:buFont typeface="Arial" panose="020B0604020202020204" pitchFamily="34" charset="0"/>
              <a:buChar char="•"/>
            </a:pPr>
            <a:r>
              <a:rPr lang="en-US" sz="1200"/>
              <a:t>Resistance: Hold the metal tips of the probes against the two ends of the component or connection where you want to measure resistance.</a:t>
            </a:r>
          </a:p>
          <a:p>
            <a:pPr>
              <a:buClr>
                <a:srgbClr val="4E749C"/>
              </a:buClr>
              <a:buFont typeface="+mj-lt"/>
              <a:buAutoNum type="arabicPeriod" startAt="3"/>
            </a:pPr>
            <a:r>
              <a:rPr lang="en-US" sz="1200" b="1" i="1"/>
              <a:t>Read the Result</a:t>
            </a:r>
            <a:r>
              <a:rPr lang="en-US" sz="1200"/>
              <a:t>:</a:t>
            </a:r>
          </a:p>
          <a:p>
            <a:pPr lvl="1" algn="l">
              <a:buFont typeface="Arial" panose="020B0604020202020204" pitchFamily="34" charset="0"/>
              <a:buChar char="•"/>
            </a:pPr>
            <a:r>
              <a:rPr lang="en-US" sz="1200"/>
              <a:t>Read the measurement on the display. Pay attention to the unit (V, A, mA, Ω).</a:t>
            </a:r>
          </a:p>
          <a:p>
            <a:pPr>
              <a:buClr>
                <a:srgbClr val="4E749C"/>
              </a:buClr>
              <a:buFont typeface="+mj-lt"/>
              <a:buAutoNum type="arabicPeriod" startAt="3"/>
            </a:pPr>
            <a:r>
              <a:rPr lang="en-US" sz="1200" b="1" i="1"/>
              <a:t>Turn Off the Multimeter</a:t>
            </a:r>
            <a:r>
              <a:rPr lang="en-US" sz="1200"/>
              <a:t>:</a:t>
            </a:r>
          </a:p>
          <a:p>
            <a:pPr lvl="1" algn="l">
              <a:buFont typeface="Arial" panose="020B0604020202020204" pitchFamily="34" charset="0"/>
              <a:buChar char="•"/>
            </a:pPr>
            <a:r>
              <a:rPr lang="en-US" sz="1200"/>
              <a:t>After the measurement, turn off the multimeter by turning the dial to "OFF".</a:t>
            </a:r>
          </a:p>
        </p:txBody>
      </p:sp>
      <p:sp>
        <p:nvSpPr>
          <p:cNvPr id="23" name="Untertitel 3">
            <a:extLst>
              <a:ext uri="{FF2B5EF4-FFF2-40B4-BE49-F238E27FC236}">
                <a16:creationId xmlns:a16="http://schemas.microsoft.com/office/drawing/2014/main" id="{4DD40015-C150-34DE-4E49-1B3A399F1E9B}"/>
              </a:ext>
            </a:extLst>
          </p:cNvPr>
          <p:cNvSpPr txBox="1">
            <a:spLocks/>
          </p:cNvSpPr>
          <p:nvPr/>
        </p:nvSpPr>
        <p:spPr>
          <a:xfrm>
            <a:off x="731189" y="7363169"/>
            <a:ext cx="6188988" cy="13490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Never measure voltage when the multimeter is set to measure current or resistance! This can damage the device or put you at risk.</a:t>
            </a:r>
          </a:p>
          <a:p>
            <a:pPr marL="139700" indent="0"/>
            <a:r>
              <a:rPr lang="en-US" sz="1200"/>
              <a:t>Be cautious with high voltages and currents and make sure you know what you are doing.</a:t>
            </a:r>
          </a:p>
          <a:p>
            <a:pPr marL="139700" indent="0"/>
            <a:r>
              <a:rPr lang="en-US" sz="1200"/>
              <a:t>Always start with the highest expected range to avoid damaging the multimeter or endangering yourself.</a:t>
            </a:r>
          </a:p>
          <a:p>
            <a:endParaRPr lang="en-US" sz="1200"/>
          </a:p>
        </p:txBody>
      </p:sp>
      <p:sp>
        <p:nvSpPr>
          <p:cNvPr id="24" name="Untertitel 5">
            <a:extLst>
              <a:ext uri="{FF2B5EF4-FFF2-40B4-BE49-F238E27FC236}">
                <a16:creationId xmlns:a16="http://schemas.microsoft.com/office/drawing/2014/main" id="{E7CAAAB2-3BAD-8409-0913-CF4C4DBEEBC7}"/>
              </a:ext>
            </a:extLst>
          </p:cNvPr>
          <p:cNvSpPr txBox="1">
            <a:spLocks/>
          </p:cNvSpPr>
          <p:nvPr/>
        </p:nvSpPr>
        <p:spPr>
          <a:xfrm>
            <a:off x="731189" y="6982342"/>
            <a:ext cx="451144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ne-NP" sz="1500">
                <a:solidFill>
                  <a:schemeClr val="accent5"/>
                </a:solidFill>
              </a:rPr>
              <a:t>Important Safety Tips</a:t>
            </a:r>
          </a:p>
        </p:txBody>
      </p:sp>
      <p:sp>
        <p:nvSpPr>
          <p:cNvPr id="27" name="Untertitel 3">
            <a:extLst>
              <a:ext uri="{FF2B5EF4-FFF2-40B4-BE49-F238E27FC236}">
                <a16:creationId xmlns:a16="http://schemas.microsoft.com/office/drawing/2014/main" id="{62BA7CF3-CF82-C780-76A2-0C4374DC7301}"/>
              </a:ext>
            </a:extLst>
          </p:cNvPr>
          <p:cNvSpPr txBox="1">
            <a:spLocks/>
          </p:cNvSpPr>
          <p:nvPr/>
        </p:nvSpPr>
        <p:spPr>
          <a:xfrm>
            <a:off x="725163" y="8548735"/>
            <a:ext cx="6042237" cy="13490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b="1">
                <a:solidFill>
                  <a:schemeClr val="accent5"/>
                </a:solidFill>
              </a:rPr>
              <a:t>Tip</a:t>
            </a:r>
            <a:r>
              <a:rPr lang="en-US" sz="1200"/>
              <a:t>: Just like with any electrical work, remember "hands off!" If your fingers touch the probes, the current might pass through your body, meaning the multimeter won’t measure the circuit accurately.</a:t>
            </a:r>
          </a:p>
          <a:p>
            <a:pPr marL="139700" indent="0"/>
            <a:r>
              <a:rPr lang="en-US" sz="1200"/>
              <a:t>With these steps, you can safely and effectively use a multimeter. Enjoy measuring and discovering the world of electricity!</a:t>
            </a:r>
          </a:p>
          <a:p>
            <a:endParaRPr lang="en-US" sz="1200"/>
          </a:p>
        </p:txBody>
      </p:sp>
    </p:spTree>
    <p:extLst>
      <p:ext uri="{BB962C8B-B14F-4D97-AF65-F5344CB8AC3E}">
        <p14:creationId xmlns:p14="http://schemas.microsoft.com/office/powerpoint/2010/main" val="18712825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7C9B1-3322-2085-A103-D77EAE47E383}"/>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EE69BB99-F276-5A42-48E1-FBABCC6D1F70}"/>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64</a:t>
            </a:fld>
            <a:endParaRPr lang="de-DE"/>
          </a:p>
        </p:txBody>
      </p:sp>
      <p:sp>
        <p:nvSpPr>
          <p:cNvPr id="13" name="Untertitel 2">
            <a:extLst>
              <a:ext uri="{FF2B5EF4-FFF2-40B4-BE49-F238E27FC236}">
                <a16:creationId xmlns:a16="http://schemas.microsoft.com/office/drawing/2014/main" id="{AC58833B-3DD3-9B9A-1D7D-D2C58CAA6BCA}"/>
              </a:ext>
            </a:extLst>
          </p:cNvPr>
          <p:cNvSpPr>
            <a:spLocks noGrp="1"/>
          </p:cNvSpPr>
          <p:nvPr>
            <p:ph type="subTitle" idx="1"/>
          </p:nvPr>
        </p:nvSpPr>
        <p:spPr>
          <a:xfrm>
            <a:off x="730528" y="5477523"/>
            <a:ext cx="5919009" cy="4518953"/>
          </a:xfrm>
        </p:spPr>
        <p:txBody>
          <a:bodyPr/>
          <a:lstStyle/>
          <a:p>
            <a:pPr marL="139700" indent="0"/>
            <a:r>
              <a:rPr lang="en-US" sz="1200"/>
              <a:t>Follow these steps to conduct the experiment:</a:t>
            </a:r>
          </a:p>
          <a:p>
            <a:pPr marL="368300" indent="-228600">
              <a:buClr>
                <a:srgbClr val="4E749C"/>
              </a:buClr>
              <a:buFont typeface="+mj-lt"/>
              <a:buAutoNum type="arabicPeriod"/>
            </a:pPr>
            <a:r>
              <a:rPr lang="en-US" sz="1200"/>
              <a:t>Set up the Turbine: Connect the Pelton turbine to the generator and ensure it is securely placed.</a:t>
            </a:r>
          </a:p>
          <a:p>
            <a:pPr marL="368300" indent="-228600">
              <a:buClr>
                <a:srgbClr val="4E749C"/>
              </a:buClr>
              <a:buFont typeface="+mj-lt"/>
              <a:buAutoNum type="arabicPeriod"/>
            </a:pPr>
            <a:r>
              <a:rPr lang="en-US" sz="1200"/>
              <a:t>Connect the Hose: Attach the hose to the water tank or reservoir. Make sure the other end is directed toward the turbine's nozzle.</a:t>
            </a:r>
          </a:p>
          <a:p>
            <a:pPr marL="368300" indent="-228600">
              <a:buClr>
                <a:srgbClr val="4E749C"/>
              </a:buClr>
              <a:buFont typeface="+mj-lt"/>
              <a:buAutoNum type="arabicPeriod"/>
            </a:pPr>
            <a:r>
              <a:rPr lang="en-US" sz="1200"/>
              <a:t>Mark Heights: Using the measuring tape, mark three head heights (80 cm, 130 cm, and 180 cm) on a nearby wall or stand to guide the elevation of the water tank.</a:t>
            </a:r>
          </a:p>
          <a:p>
            <a:pPr marL="368300" indent="-228600">
              <a:buFont typeface="+mj-lt"/>
              <a:buAutoNum type="arabicPeriod"/>
            </a:pPr>
            <a:endParaRPr lang="en-US" sz="1200"/>
          </a:p>
          <a:p>
            <a:pPr marL="139700" indent="0"/>
            <a:r>
              <a:rPr lang="en-US" sz="1200"/>
              <a:t>Procedure:</a:t>
            </a:r>
          </a:p>
          <a:p>
            <a:pPr marL="368300" indent="-228600">
              <a:buClr>
                <a:srgbClr val="4E749C"/>
              </a:buClr>
              <a:buFont typeface="+mj-lt"/>
              <a:buAutoNum type="arabicPeriod"/>
            </a:pPr>
            <a:r>
              <a:rPr lang="en-US" sz="1200"/>
              <a:t>Fill the water tank or reservoir with water and place it at 80 cm above the turbine.</a:t>
            </a:r>
          </a:p>
          <a:p>
            <a:pPr marL="368300" indent="-228600">
              <a:buClr>
                <a:srgbClr val="4E749C"/>
              </a:buClr>
              <a:buFont typeface="+mj-lt"/>
              <a:buAutoNum type="arabicPeriod"/>
            </a:pPr>
            <a:r>
              <a:rPr lang="en-US" sz="1200"/>
              <a:t>Open the valve or allow water to flow through the hose to power the Pelton turbine.</a:t>
            </a:r>
          </a:p>
          <a:p>
            <a:pPr marL="368300" indent="-228600">
              <a:buClr>
                <a:srgbClr val="4E749C"/>
              </a:buClr>
              <a:buFont typeface="+mj-lt"/>
              <a:buAutoNum type="arabicPeriod"/>
            </a:pPr>
            <a:r>
              <a:rPr lang="en-US" sz="1200"/>
              <a:t>Using the multimeter, measure the voltage or current generated by the turbine and record the value.</a:t>
            </a:r>
          </a:p>
          <a:p>
            <a:pPr marL="368300" indent="-228600">
              <a:buClr>
                <a:srgbClr val="4E749C"/>
              </a:buClr>
              <a:buFont typeface="+mj-lt"/>
              <a:buAutoNum type="arabicPeriod"/>
            </a:pPr>
            <a:r>
              <a:rPr lang="en-US" sz="1200"/>
              <a:t>Repeat the procedure with the tank elevated to 130 cm. Measure and record the voltage or current generated.</a:t>
            </a:r>
          </a:p>
          <a:p>
            <a:pPr marL="368300" indent="-228600">
              <a:buClr>
                <a:srgbClr val="4E749C"/>
              </a:buClr>
              <a:buFont typeface="+mj-lt"/>
              <a:buAutoNum type="arabicPeriod"/>
            </a:pPr>
            <a:r>
              <a:rPr lang="en-US" sz="1200"/>
              <a:t>Finally, repeat the procedure with the tank elevated to 180 cm, recording the corresponding voltage or current generated.</a:t>
            </a:r>
          </a:p>
          <a:p>
            <a:pPr marL="368300" indent="-228600">
              <a:buClr>
                <a:srgbClr val="4E749C"/>
              </a:buClr>
              <a:buFont typeface="+mj-lt"/>
              <a:buAutoNum type="arabicPeriod"/>
            </a:pPr>
            <a:r>
              <a:rPr lang="en-US" sz="1200"/>
              <a:t>Perform at least two trials for each height to ensure accuracy.</a:t>
            </a:r>
          </a:p>
        </p:txBody>
      </p:sp>
      <p:sp>
        <p:nvSpPr>
          <p:cNvPr id="4" name="TextBox 3">
            <a:extLst>
              <a:ext uri="{FF2B5EF4-FFF2-40B4-BE49-F238E27FC236}">
                <a16:creationId xmlns:a16="http://schemas.microsoft.com/office/drawing/2014/main" id="{1239AF16-4D15-6D6D-7BED-629AF6EA510F}"/>
              </a:ext>
            </a:extLst>
          </p:cNvPr>
          <p:cNvSpPr txBox="1"/>
          <p:nvPr/>
        </p:nvSpPr>
        <p:spPr>
          <a:xfrm>
            <a:off x="1894609" y="4650662"/>
            <a:ext cx="3789218" cy="307777"/>
          </a:xfrm>
          <a:prstGeom prst="rect">
            <a:avLst/>
          </a:prstGeom>
          <a:noFill/>
        </p:spPr>
        <p:txBody>
          <a:bodyPr wrap="square">
            <a:spAutoFit/>
          </a:bodyPr>
          <a:lstStyle/>
          <a:p>
            <a:r>
              <a:rPr lang="en-US" b="0" i="0">
                <a:solidFill>
                  <a:srgbClr val="000000"/>
                </a:solidFill>
                <a:effectLst/>
                <a:latin typeface="Times"/>
              </a:rPr>
              <a:t> </a:t>
            </a:r>
            <a:endParaRPr lang="en-US"/>
          </a:p>
        </p:txBody>
      </p:sp>
      <p:sp>
        <p:nvSpPr>
          <p:cNvPr id="10" name="Rechteck 1">
            <a:extLst>
              <a:ext uri="{FF2B5EF4-FFF2-40B4-BE49-F238E27FC236}">
                <a16:creationId xmlns:a16="http://schemas.microsoft.com/office/drawing/2014/main" id="{97305FAB-DFAF-1635-ED2E-5F228D71371C}"/>
              </a:ext>
            </a:extLst>
          </p:cNvPr>
          <p:cNvSpPr/>
          <p:nvPr/>
        </p:nvSpPr>
        <p:spPr>
          <a:xfrm>
            <a:off x="959816" y="3246134"/>
            <a:ext cx="5919009" cy="1906013"/>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i="0">
                <a:solidFill>
                  <a:srgbClr val="000000"/>
                </a:solidFill>
                <a:effectLst/>
                <a:latin typeface="Times"/>
              </a:rPr>
              <a:t> </a:t>
            </a:r>
            <a:endParaRPr lang="de-DE"/>
          </a:p>
        </p:txBody>
      </p:sp>
      <p:sp>
        <p:nvSpPr>
          <p:cNvPr id="11" name="TextBox 10">
            <a:extLst>
              <a:ext uri="{FF2B5EF4-FFF2-40B4-BE49-F238E27FC236}">
                <a16:creationId xmlns:a16="http://schemas.microsoft.com/office/drawing/2014/main" id="{AD3B2A94-7F8B-183F-4874-4E8E232FA8BE}"/>
              </a:ext>
            </a:extLst>
          </p:cNvPr>
          <p:cNvSpPr txBox="1"/>
          <p:nvPr/>
        </p:nvSpPr>
        <p:spPr>
          <a:xfrm>
            <a:off x="1307738" y="3372718"/>
            <a:ext cx="5223164" cy="307777"/>
          </a:xfrm>
          <a:prstGeom prst="rect">
            <a:avLst/>
          </a:prstGeom>
          <a:noFill/>
        </p:spPr>
        <p:txBody>
          <a:bodyPr wrap="square" rtlCol="0">
            <a:spAutoFit/>
          </a:bodyPr>
          <a:lstStyle/>
          <a:p>
            <a:r>
              <a:rPr lang="en-US" b="1"/>
              <a:t>Material you will need for the experiment</a:t>
            </a:r>
          </a:p>
        </p:txBody>
      </p:sp>
      <p:sp>
        <p:nvSpPr>
          <p:cNvPr id="12" name="TextBox 11">
            <a:extLst>
              <a:ext uri="{FF2B5EF4-FFF2-40B4-BE49-F238E27FC236}">
                <a16:creationId xmlns:a16="http://schemas.microsoft.com/office/drawing/2014/main" id="{3EEDF019-EB2A-E05F-F045-FFB22F46A1A7}"/>
              </a:ext>
            </a:extLst>
          </p:cNvPr>
          <p:cNvSpPr txBox="1"/>
          <p:nvPr/>
        </p:nvSpPr>
        <p:spPr>
          <a:xfrm>
            <a:off x="1307739" y="3751462"/>
            <a:ext cx="2699300" cy="1160702"/>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1 Pelton turbine (included in your kit)</a:t>
            </a:r>
          </a:p>
          <a:p>
            <a:pPr marL="285750" indent="-285750">
              <a:buFont typeface="Arial" panose="020B0604020202020204" pitchFamily="34" charset="0"/>
              <a:buChar char="•"/>
            </a:pPr>
            <a:r>
              <a:rPr lang="en-US" sz="1157">
                <a:solidFill>
                  <a:schemeClr val="dk1"/>
                </a:solidFill>
                <a:latin typeface="Sofia Sans"/>
                <a:sym typeface="Sofia Sans"/>
              </a:rPr>
              <a:t>1 flexible hose to connect the water source to the turbine (included in your kit)</a:t>
            </a:r>
          </a:p>
          <a:p>
            <a:pPr marL="285750" indent="-285750">
              <a:buFont typeface="Arial" panose="020B0604020202020204" pitchFamily="34" charset="0"/>
              <a:buChar char="•"/>
            </a:pPr>
            <a:r>
              <a:rPr lang="en-US" sz="1157">
                <a:solidFill>
                  <a:schemeClr val="dk1"/>
                </a:solidFill>
                <a:latin typeface="Sofia Sans"/>
                <a:sym typeface="Sofia Sans"/>
              </a:rPr>
              <a:t>1 measuring tape or ruler </a:t>
            </a:r>
          </a:p>
        </p:txBody>
      </p:sp>
      <p:grpSp>
        <p:nvGrpSpPr>
          <p:cNvPr id="14" name="Gruppieren 14">
            <a:extLst>
              <a:ext uri="{FF2B5EF4-FFF2-40B4-BE49-F238E27FC236}">
                <a16:creationId xmlns:a16="http://schemas.microsoft.com/office/drawing/2014/main" id="{95DB08C5-B2A8-DEC0-F094-4DFC2D47D22B}"/>
              </a:ext>
            </a:extLst>
          </p:cNvPr>
          <p:cNvGrpSpPr/>
          <p:nvPr/>
        </p:nvGrpSpPr>
        <p:grpSpPr>
          <a:xfrm>
            <a:off x="6449437" y="2953084"/>
            <a:ext cx="563367" cy="545182"/>
            <a:chOff x="6140368" y="3097012"/>
            <a:chExt cx="631497" cy="631501"/>
          </a:xfrm>
        </p:grpSpPr>
        <p:sp>
          <p:nvSpPr>
            <p:cNvPr id="16" name="Ellipse 12">
              <a:extLst>
                <a:ext uri="{FF2B5EF4-FFF2-40B4-BE49-F238E27FC236}">
                  <a16:creationId xmlns:a16="http://schemas.microsoft.com/office/drawing/2014/main" id="{21F1A0C4-3C37-8630-A35C-0C8FEA4895F8}"/>
                </a:ext>
              </a:extLst>
            </p:cNvPr>
            <p:cNvSpPr>
              <a:spLocks noChangeAspect="1"/>
            </p:cNvSpPr>
            <p:nvPr/>
          </p:nvSpPr>
          <p:spPr>
            <a:xfrm>
              <a:off x="6140368" y="3097012"/>
              <a:ext cx="631497" cy="631501"/>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3" descr="Inventar mit einfarbiger Füllung">
              <a:extLst>
                <a:ext uri="{FF2B5EF4-FFF2-40B4-BE49-F238E27FC236}">
                  <a16:creationId xmlns:a16="http://schemas.microsoft.com/office/drawing/2014/main" id="{FB335439-271C-EA94-95CE-C5150783AA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41840" y="3198483"/>
              <a:ext cx="457200" cy="457200"/>
            </a:xfrm>
            <a:prstGeom prst="rect">
              <a:avLst/>
            </a:prstGeom>
          </p:spPr>
        </p:pic>
      </p:grpSp>
      <p:sp>
        <p:nvSpPr>
          <p:cNvPr id="19" name="TextBox 18">
            <a:extLst>
              <a:ext uri="{FF2B5EF4-FFF2-40B4-BE49-F238E27FC236}">
                <a16:creationId xmlns:a16="http://schemas.microsoft.com/office/drawing/2014/main" id="{B1604ACB-3AC3-AC4A-5117-29545C5134D5}"/>
              </a:ext>
            </a:extLst>
          </p:cNvPr>
          <p:cNvSpPr txBox="1"/>
          <p:nvPr/>
        </p:nvSpPr>
        <p:spPr>
          <a:xfrm>
            <a:off x="730528" y="1325406"/>
            <a:ext cx="5906136" cy="954107"/>
          </a:xfrm>
          <a:prstGeom prst="rect">
            <a:avLst/>
          </a:prstGeom>
          <a:noFill/>
        </p:spPr>
        <p:txBody>
          <a:bodyPr wrap="square">
            <a:spAutoFit/>
          </a:bodyPr>
          <a:lstStyle/>
          <a:p>
            <a:r>
              <a:rPr lang="en-US" sz="2800" b="1">
                <a:latin typeface="Epilogue" panose="020B0604020202020204" charset="0"/>
                <a:cs typeface="Epilogue" panose="020B0604020202020204" charset="0"/>
              </a:rPr>
              <a:t>3. Effect of Head Height on Energy Generation in a Pelton Turbine</a:t>
            </a:r>
          </a:p>
        </p:txBody>
      </p:sp>
      <p:sp>
        <p:nvSpPr>
          <p:cNvPr id="21" name="TextBox 20">
            <a:extLst>
              <a:ext uri="{FF2B5EF4-FFF2-40B4-BE49-F238E27FC236}">
                <a16:creationId xmlns:a16="http://schemas.microsoft.com/office/drawing/2014/main" id="{51AE26CE-4DE2-F3FF-6013-58E4E8E47A93}"/>
              </a:ext>
            </a:extLst>
          </p:cNvPr>
          <p:cNvSpPr txBox="1"/>
          <p:nvPr/>
        </p:nvSpPr>
        <p:spPr>
          <a:xfrm>
            <a:off x="1278728" y="2522705"/>
            <a:ext cx="3789946" cy="315471"/>
          </a:xfrm>
          <a:prstGeom prst="rect">
            <a:avLst/>
          </a:prstGeom>
          <a:noFill/>
        </p:spPr>
        <p:txBody>
          <a:bodyPr wrap="square">
            <a:spAutoFit/>
          </a:bodyPr>
          <a:lstStyle/>
          <a:p>
            <a:r>
              <a:rPr lang="en-US" sz="1400" b="1" i="0">
                <a:solidFill>
                  <a:srgbClr val="4E749C"/>
                </a:solidFill>
                <a:effectLst/>
                <a:latin typeface="Epilogue" panose="020B0604020202020204" charset="0"/>
                <a:cs typeface="Epilogue" panose="020B0604020202020204" charset="0"/>
              </a:rPr>
              <a:t>Experiment </a:t>
            </a:r>
            <a:r>
              <a:rPr lang="en-US" sz="1450" b="0" i="0">
                <a:solidFill>
                  <a:srgbClr val="000000"/>
                </a:solidFill>
                <a:effectLst/>
                <a:latin typeface="Times"/>
              </a:rPr>
              <a:t> </a:t>
            </a:r>
            <a:endParaRPr lang="en-US" sz="1450"/>
          </a:p>
        </p:txBody>
      </p:sp>
      <p:sp>
        <p:nvSpPr>
          <p:cNvPr id="2" name="Ellipse 7">
            <a:extLst>
              <a:ext uri="{FF2B5EF4-FFF2-40B4-BE49-F238E27FC236}">
                <a16:creationId xmlns:a16="http://schemas.microsoft.com/office/drawing/2014/main" id="{BA432E87-4C9B-3F7C-B873-C1C93D09E594}"/>
              </a:ext>
            </a:extLst>
          </p:cNvPr>
          <p:cNvSpPr>
            <a:spLocks noChangeAspect="1"/>
          </p:cNvSpPr>
          <p:nvPr/>
        </p:nvSpPr>
        <p:spPr>
          <a:xfrm>
            <a:off x="730528" y="2440631"/>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30" descr="Lupe mit einfarbiger Füllung">
            <a:extLst>
              <a:ext uri="{FF2B5EF4-FFF2-40B4-BE49-F238E27FC236}">
                <a16:creationId xmlns:a16="http://schemas.microsoft.com/office/drawing/2014/main" id="{F0F3D58E-A63E-6D11-7B48-DC5B0EE520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601" y="2504311"/>
            <a:ext cx="333865" cy="333865"/>
          </a:xfrm>
          <a:prstGeom prst="rect">
            <a:avLst/>
          </a:prstGeom>
        </p:spPr>
      </p:pic>
      <p:sp>
        <p:nvSpPr>
          <p:cNvPr id="5" name="TextBox 11">
            <a:extLst>
              <a:ext uri="{FF2B5EF4-FFF2-40B4-BE49-F238E27FC236}">
                <a16:creationId xmlns:a16="http://schemas.microsoft.com/office/drawing/2014/main" id="{DC2A0A2D-47E1-700E-FB88-94D617A8AE7E}"/>
              </a:ext>
            </a:extLst>
          </p:cNvPr>
          <p:cNvSpPr txBox="1"/>
          <p:nvPr/>
        </p:nvSpPr>
        <p:spPr>
          <a:xfrm>
            <a:off x="3919320" y="3751462"/>
            <a:ext cx="2699300" cy="1160702"/>
          </a:xfrm>
          <a:prstGeom prst="rect">
            <a:avLst/>
          </a:prstGeom>
          <a:noFill/>
        </p:spPr>
        <p:txBody>
          <a:bodyPr wrap="square" rtlCol="0">
            <a:spAutoFit/>
          </a:bodyPr>
          <a:lstStyle/>
          <a:p>
            <a:pPr marL="285750" indent="-285750">
              <a:buFont typeface="Arial" panose="020B0604020202020204" pitchFamily="34" charset="0"/>
              <a:buChar char="•"/>
            </a:pPr>
            <a:r>
              <a:rPr lang="en-US" sz="1157">
                <a:solidFill>
                  <a:schemeClr val="dk1"/>
                </a:solidFill>
                <a:latin typeface="Sofia Sans"/>
                <a:sym typeface="Sofia Sans"/>
              </a:rPr>
              <a:t>1 small generator connected to the Pelton turbine to measure the impact of head height changes (included in your kit, attached to the turbine)</a:t>
            </a:r>
          </a:p>
          <a:p>
            <a:pPr marL="285750" indent="-285750">
              <a:buFont typeface="Arial" panose="020B0604020202020204" pitchFamily="34" charset="0"/>
              <a:buChar char="•"/>
            </a:pPr>
            <a:r>
              <a:rPr lang="en-US" sz="1157">
                <a:solidFill>
                  <a:schemeClr val="dk1"/>
                </a:solidFill>
                <a:latin typeface="Sofia Sans"/>
                <a:sym typeface="Sofia Sans"/>
              </a:rPr>
              <a:t>Water supply</a:t>
            </a:r>
          </a:p>
        </p:txBody>
      </p:sp>
    </p:spTree>
    <p:extLst>
      <p:ext uri="{BB962C8B-B14F-4D97-AF65-F5344CB8AC3E}">
        <p14:creationId xmlns:p14="http://schemas.microsoft.com/office/powerpoint/2010/main" val="34264818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ACA2F-6CF6-51F7-CA8D-F9427F500E9D}"/>
            </a:ext>
          </a:extLst>
        </p:cNvPr>
        <p:cNvGrpSpPr/>
        <p:nvPr/>
      </p:nvGrpSpPr>
      <p:grpSpPr>
        <a:xfrm>
          <a:off x="0" y="0"/>
          <a:ext cx="0" cy="0"/>
          <a:chOff x="0" y="0"/>
          <a:chExt cx="0" cy="0"/>
        </a:xfrm>
      </p:grpSpPr>
      <p:pic>
        <p:nvPicPr>
          <p:cNvPr id="3" name="Grafik 30" descr="Lupe mit einfarbiger Füllung">
            <a:extLst>
              <a:ext uri="{FF2B5EF4-FFF2-40B4-BE49-F238E27FC236}">
                <a16:creationId xmlns:a16="http://schemas.microsoft.com/office/drawing/2014/main" id="{6100BFDA-5B82-1A60-643B-E112241142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601" y="2261119"/>
            <a:ext cx="333865" cy="333865"/>
          </a:xfrm>
          <a:prstGeom prst="rect">
            <a:avLst/>
          </a:prstGeom>
        </p:spPr>
      </p:pic>
      <p:graphicFrame>
        <p:nvGraphicFramePr>
          <p:cNvPr id="5" name="Table 4">
            <a:extLst>
              <a:ext uri="{FF2B5EF4-FFF2-40B4-BE49-F238E27FC236}">
                <a16:creationId xmlns:a16="http://schemas.microsoft.com/office/drawing/2014/main" id="{286E343A-3A20-4D90-BB72-94710E5AE144}"/>
              </a:ext>
            </a:extLst>
          </p:cNvPr>
          <p:cNvGraphicFramePr>
            <a:graphicFrameLocks noGrp="1"/>
          </p:cNvGraphicFramePr>
          <p:nvPr>
            <p:extLst>
              <p:ext uri="{D42A27DB-BD31-4B8C-83A1-F6EECF244321}">
                <p14:modId xmlns:p14="http://schemas.microsoft.com/office/powerpoint/2010/main" val="2966524279"/>
              </p:ext>
            </p:extLst>
          </p:nvPr>
        </p:nvGraphicFramePr>
        <p:xfrm>
          <a:off x="1570860" y="1277938"/>
          <a:ext cx="4642812" cy="1361057"/>
        </p:xfrm>
        <a:graphic>
          <a:graphicData uri="http://schemas.openxmlformats.org/drawingml/2006/table">
            <a:tbl>
              <a:tblPr>
                <a:noFill/>
                <a:tableStyleId>{F0CFADBD-3245-443C-9B6D-9ACBA4CA32A5}</a:tableStyleId>
              </a:tblPr>
              <a:tblGrid>
                <a:gridCol w="1083605">
                  <a:extLst>
                    <a:ext uri="{9D8B030D-6E8A-4147-A177-3AD203B41FA5}">
                      <a16:colId xmlns:a16="http://schemas.microsoft.com/office/drawing/2014/main" val="70501531"/>
                    </a:ext>
                  </a:extLst>
                </a:gridCol>
                <a:gridCol w="1157752">
                  <a:extLst>
                    <a:ext uri="{9D8B030D-6E8A-4147-A177-3AD203B41FA5}">
                      <a16:colId xmlns:a16="http://schemas.microsoft.com/office/drawing/2014/main" val="2554105464"/>
                    </a:ext>
                  </a:extLst>
                </a:gridCol>
                <a:gridCol w="1140925">
                  <a:extLst>
                    <a:ext uri="{9D8B030D-6E8A-4147-A177-3AD203B41FA5}">
                      <a16:colId xmlns:a16="http://schemas.microsoft.com/office/drawing/2014/main" val="418426545"/>
                    </a:ext>
                  </a:extLst>
                </a:gridCol>
                <a:gridCol w="1260530">
                  <a:extLst>
                    <a:ext uri="{9D8B030D-6E8A-4147-A177-3AD203B41FA5}">
                      <a16:colId xmlns:a16="http://schemas.microsoft.com/office/drawing/2014/main" val="857046443"/>
                    </a:ext>
                  </a:extLst>
                </a:gridCol>
              </a:tblGrid>
              <a:tr h="363822">
                <a:tc>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Height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Trial 1 Output (Volts/Hz)</a:t>
                      </a: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Trial 2 Output (Volts/Hz)</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Trial 3 Output (Volts/Hz)</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3499768920"/>
                  </a:ext>
                </a:extLst>
              </a:tr>
              <a:tr h="345813">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40 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b="1" noProof="0">
                          <a:solidFill>
                            <a:srgbClr val="FF0000"/>
                          </a:solidFill>
                          <a:latin typeface="Sofia Sans"/>
                          <a:ea typeface="Sofia Sans"/>
                          <a:cs typeface="Sofia Sans"/>
                          <a:sym typeface="Sofia Sans"/>
                        </a:rPr>
                        <a:t>1,85 V</a:t>
                      </a:r>
                      <a:endParaRPr lang="en-US" sz="1000" b="1" noProof="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1,80 V</a:t>
                      </a:r>
                      <a:endParaRPr lang="en-US" sz="1000" noProof="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1,82 V</a:t>
                      </a:r>
                      <a:endParaRPr lang="en-US" sz="1000" noProof="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924615452"/>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70CM</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b="1" noProof="0">
                          <a:solidFill>
                            <a:srgbClr val="FF0000"/>
                          </a:solidFill>
                          <a:latin typeface="Sofia Sans"/>
                          <a:ea typeface="Sofia Sans"/>
                          <a:cs typeface="Sofia Sans"/>
                          <a:sym typeface="Sofia Sans"/>
                        </a:rPr>
                        <a:t>2,35 V</a:t>
                      </a:r>
                      <a:endParaRPr lang="en-US" sz="1000" b="1" noProof="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2,30 V</a:t>
                      </a:r>
                      <a:endParaRPr lang="en-US" sz="1000" noProof="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2,37 V</a:t>
                      </a:r>
                      <a:endParaRPr lang="en-US" sz="1000" noProof="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4104599784"/>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200 CM</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s-MX" sz="1000" b="1" noProof="0">
                          <a:solidFill>
                            <a:srgbClr val="FF0000"/>
                          </a:solidFill>
                          <a:latin typeface="Sofia Sans"/>
                          <a:ea typeface="Sofia Sans"/>
                          <a:cs typeface="Sofia Sans"/>
                          <a:sym typeface="Sofia Sans"/>
                        </a:rPr>
                        <a:t>3,25 V</a:t>
                      </a:r>
                      <a:endParaRPr lang="en-US" sz="1000" b="1" noProof="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3,22 V</a:t>
                      </a:r>
                      <a:endParaRPr lang="en-US" sz="1000" noProof="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s-MX" sz="1000" noProof="0">
                          <a:solidFill>
                            <a:srgbClr val="FF0000"/>
                          </a:solidFill>
                          <a:latin typeface="Sofia Sans"/>
                          <a:ea typeface="Sofia Sans"/>
                          <a:cs typeface="Sofia Sans"/>
                          <a:sym typeface="Sofia Sans"/>
                        </a:rPr>
                        <a:t>3,20 V</a:t>
                      </a:r>
                      <a:endParaRPr lang="en-US" sz="1000" noProof="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801952061"/>
                  </a:ext>
                </a:extLst>
              </a:tr>
            </a:tbl>
          </a:graphicData>
        </a:graphic>
      </p:graphicFrame>
      <p:sp>
        <p:nvSpPr>
          <p:cNvPr id="8" name="Untertitel 2">
            <a:extLst>
              <a:ext uri="{FF2B5EF4-FFF2-40B4-BE49-F238E27FC236}">
                <a16:creationId xmlns:a16="http://schemas.microsoft.com/office/drawing/2014/main" id="{AE3C06A7-0528-0061-5F8A-EB9376951315}"/>
              </a:ext>
            </a:extLst>
          </p:cNvPr>
          <p:cNvSpPr txBox="1">
            <a:spLocks/>
          </p:cNvSpPr>
          <p:nvPr/>
        </p:nvSpPr>
        <p:spPr>
          <a:xfrm>
            <a:off x="719138" y="3392484"/>
            <a:ext cx="5919009" cy="22606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t>Discuss with a partner what you just saw in the experiment:</a:t>
            </a:r>
          </a:p>
          <a:p>
            <a:endParaRPr lang="en-US" sz="1200"/>
          </a:p>
          <a:p>
            <a:pPr>
              <a:buClr>
                <a:schemeClr val="accent5"/>
              </a:buClr>
              <a:buSzPct val="121000"/>
              <a:buFont typeface="+mj-lt"/>
              <a:buAutoNum type="arabicPeriod"/>
            </a:pPr>
            <a:r>
              <a:rPr lang="en-US" sz="1200"/>
              <a:t>How did the head height of the water affect the energy output of the Pelton turbine?</a:t>
            </a:r>
          </a:p>
          <a:p>
            <a:pPr>
              <a:buClr>
                <a:schemeClr val="accent5"/>
              </a:buClr>
              <a:buSzPct val="121000"/>
              <a:buFont typeface="+mj-lt"/>
              <a:buAutoNum type="arabicPeriod"/>
            </a:pPr>
            <a:r>
              <a:rPr lang="en-US" sz="1200"/>
              <a:t>Why does increasing the height result in a higher energy output?</a:t>
            </a:r>
          </a:p>
          <a:p>
            <a:pPr>
              <a:buClr>
                <a:schemeClr val="accent5"/>
              </a:buClr>
              <a:buSzPct val="121000"/>
              <a:buFont typeface="+mj-lt"/>
              <a:buAutoNum type="arabicPeriod"/>
            </a:pPr>
            <a:r>
              <a:rPr lang="en-US" sz="1200"/>
              <a:t>How could this concept be applied in designing real-world hydropower plants?</a:t>
            </a:r>
          </a:p>
          <a:p>
            <a:pPr marL="285750" lvl="2" indent="-285750">
              <a:buFont typeface="Arial" panose="020B0604020202020204" pitchFamily="34" charset="0"/>
              <a:buChar char="•"/>
            </a:pPr>
            <a:endParaRPr lang="en-US" sz="1200"/>
          </a:p>
          <a:p>
            <a:pPr lvl="2"/>
            <a:endParaRPr lang="en-US" sz="1200"/>
          </a:p>
          <a:p>
            <a:pPr marL="285750" lvl="2" indent="-285750">
              <a:buFont typeface="Arial" panose="020B0604020202020204" pitchFamily="34" charset="0"/>
              <a:buChar char="•"/>
            </a:pPr>
            <a:endParaRPr lang="en-US" sz="1200"/>
          </a:p>
        </p:txBody>
      </p:sp>
      <p:sp>
        <p:nvSpPr>
          <p:cNvPr id="9" name="Untertitel 5">
            <a:extLst>
              <a:ext uri="{FF2B5EF4-FFF2-40B4-BE49-F238E27FC236}">
                <a16:creationId xmlns:a16="http://schemas.microsoft.com/office/drawing/2014/main" id="{51C0A7B7-9458-68A0-3DEC-5CBAE71D857B}"/>
              </a:ext>
            </a:extLst>
          </p:cNvPr>
          <p:cNvSpPr txBox="1">
            <a:spLocks/>
          </p:cNvSpPr>
          <p:nvPr/>
        </p:nvSpPr>
        <p:spPr>
          <a:xfrm>
            <a:off x="719138" y="305785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rgbClr val="4E749C"/>
                </a:solidFill>
              </a:rPr>
              <a:t>Task 3</a:t>
            </a:r>
          </a:p>
        </p:txBody>
      </p:sp>
      <p:sp>
        <p:nvSpPr>
          <p:cNvPr id="18" name="Textfeld 11">
            <a:extLst>
              <a:ext uri="{FF2B5EF4-FFF2-40B4-BE49-F238E27FC236}">
                <a16:creationId xmlns:a16="http://schemas.microsoft.com/office/drawing/2014/main" id="{F21ACA71-86A6-5004-B1F9-A382086FF763}"/>
              </a:ext>
            </a:extLst>
          </p:cNvPr>
          <p:cNvSpPr txBox="1"/>
          <p:nvPr/>
        </p:nvSpPr>
        <p:spPr>
          <a:xfrm>
            <a:off x="965533" y="4962255"/>
            <a:ext cx="5919009" cy="290592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6000">
              <a:buClr>
                <a:srgbClr val="4E749C"/>
              </a:buClr>
              <a:buFont typeface="+mj-lt"/>
              <a:buAutoNum type="arabicPeriod"/>
            </a:pPr>
            <a:r>
              <a:rPr lang="en-US" sz="1200">
                <a:solidFill>
                  <a:srgbClr val="FF0000"/>
                </a:solidFill>
                <a:latin typeface="Sofia Sans" panose="020B0604020202020204" charset="0"/>
              </a:rPr>
              <a:t>. The experiment showed that higher head heights increased energy output. At greater heights, the water had more potential energy, resulting in stronger pressure and faster turbine rotation, which generated more electricity.</a:t>
            </a:r>
          </a:p>
          <a:p>
            <a:pPr marL="36000">
              <a:buClr>
                <a:srgbClr val="4E749C"/>
              </a:buClr>
              <a:buFont typeface="+mj-lt"/>
              <a:buAutoNum type="arabicPeriod"/>
            </a:pPr>
            <a:endParaRPr lang="en-US" sz="1200">
              <a:solidFill>
                <a:srgbClr val="FF0000"/>
              </a:solidFill>
              <a:latin typeface="Sofia Sans" panose="020B0604020202020204" charset="0"/>
            </a:endParaRPr>
          </a:p>
          <a:p>
            <a:pPr marL="36000">
              <a:buClr>
                <a:srgbClr val="4E749C"/>
              </a:buClr>
              <a:buFont typeface="+mj-lt"/>
              <a:buAutoNum type="arabicPeriod"/>
            </a:pPr>
            <a:r>
              <a:rPr lang="en-US" sz="1200">
                <a:solidFill>
                  <a:srgbClr val="FF0000"/>
                </a:solidFill>
                <a:latin typeface="Sofia Sans" panose="020B0604020202020204" charset="0"/>
              </a:rPr>
              <a:t>Higher head heights enhance the water’s potential energy, which converts to kinetic energy as it flows. This more substantial flow spins the turbine faster, producing more electricity efficiently.</a:t>
            </a:r>
          </a:p>
          <a:p>
            <a:pPr marL="36000">
              <a:buClr>
                <a:srgbClr val="4E749C"/>
              </a:buClr>
              <a:buFont typeface="+mj-lt"/>
              <a:buAutoNum type="arabicPeriod"/>
            </a:pPr>
            <a:endParaRPr lang="en-US" sz="1200">
              <a:solidFill>
                <a:srgbClr val="FF0000"/>
              </a:solidFill>
              <a:latin typeface="Sofia Sans" panose="020B0604020202020204" charset="0"/>
            </a:endParaRPr>
          </a:p>
          <a:p>
            <a:pPr marL="36000">
              <a:buClr>
                <a:srgbClr val="4E749C"/>
              </a:buClr>
              <a:buFont typeface="+mj-lt"/>
              <a:buAutoNum type="arabicPeriod"/>
            </a:pPr>
            <a:r>
              <a:rPr lang="en-US" sz="1200">
                <a:solidFill>
                  <a:srgbClr val="FF0000"/>
                </a:solidFill>
                <a:latin typeface="Sofia Sans" panose="020B0604020202020204" charset="0"/>
              </a:rPr>
              <a:t>Hydropower plants use head height by selecting locations with natural elevation differences or building dams to increase water height, ensuring efficient energy generation from turbines.</a:t>
            </a:r>
          </a:p>
          <a:p>
            <a:pPr marL="171450" indent="-171450">
              <a:buFont typeface="Arial" panose="020B0604020202020204" pitchFamily="34" charset="0"/>
              <a:buChar char="•"/>
            </a:pPr>
            <a:endParaRPr lang="en-US" sz="1200">
              <a:solidFill>
                <a:srgbClr val="FF0000"/>
              </a:solidFill>
              <a:latin typeface="Sofia Sans" panose="020B0604020202020204" charset="0"/>
              <a:ea typeface="Times New Roman" panose="02020603050405020304" pitchFamily="18" charset="0"/>
            </a:endParaRPr>
          </a:p>
        </p:txBody>
      </p:sp>
      <p:sp>
        <p:nvSpPr>
          <p:cNvPr id="6" name="Foliennummernplatzhalter 14">
            <a:extLst>
              <a:ext uri="{FF2B5EF4-FFF2-40B4-BE49-F238E27FC236}">
                <a16:creationId xmlns:a16="http://schemas.microsoft.com/office/drawing/2014/main" id="{6B16D86E-2F29-FF19-3D5A-C2E92FEF5B9E}"/>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65</a:t>
            </a:fld>
            <a:endParaRPr lang="de-DE"/>
          </a:p>
        </p:txBody>
      </p:sp>
    </p:spTree>
    <p:extLst>
      <p:ext uri="{BB962C8B-B14F-4D97-AF65-F5344CB8AC3E}">
        <p14:creationId xmlns:p14="http://schemas.microsoft.com/office/powerpoint/2010/main" val="39276659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AE440-01F9-9F55-F7B8-EF2DCC63F633}"/>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74C379C5-D700-FAD1-F772-93CB15666D0D}"/>
              </a:ext>
            </a:extLst>
          </p:cNvPr>
          <p:cNvSpPr>
            <a:spLocks noGrp="1"/>
          </p:cNvSpPr>
          <p:nvPr>
            <p:ph type="sldNum" sz="quarter" idx="16"/>
          </p:nvPr>
        </p:nvSpPr>
        <p:spPr/>
        <p:txBody>
          <a:bodyPr/>
          <a:lstStyle/>
          <a:p>
            <a:fld id="{DF7F771E-9578-4C04-B869-01AF4C35C90C}" type="slidenum">
              <a:rPr lang="de-DE" smtClean="0"/>
              <a:t>66</a:t>
            </a:fld>
            <a:endParaRPr lang="de-DE"/>
          </a:p>
        </p:txBody>
      </p:sp>
      <p:sp>
        <p:nvSpPr>
          <p:cNvPr id="9" name="Rechteck 1">
            <a:extLst>
              <a:ext uri="{FF2B5EF4-FFF2-40B4-BE49-F238E27FC236}">
                <a16:creationId xmlns:a16="http://schemas.microsoft.com/office/drawing/2014/main" id="{8B0E0A27-F70E-4F79-88E8-E2522DED319E}"/>
              </a:ext>
            </a:extLst>
          </p:cNvPr>
          <p:cNvSpPr/>
          <p:nvPr/>
        </p:nvSpPr>
        <p:spPr>
          <a:xfrm>
            <a:off x="719138" y="1596646"/>
            <a:ext cx="5740172" cy="768938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2">
            <a:extLst>
              <a:ext uri="{FF2B5EF4-FFF2-40B4-BE49-F238E27FC236}">
                <a16:creationId xmlns:a16="http://schemas.microsoft.com/office/drawing/2014/main" id="{F723281D-E1E9-DB21-699B-49D6B12F22FF}"/>
              </a:ext>
            </a:extLst>
          </p:cNvPr>
          <p:cNvSpPr>
            <a:spLocks noChangeAspect="1"/>
          </p:cNvSpPr>
          <p:nvPr/>
        </p:nvSpPr>
        <p:spPr>
          <a:xfrm>
            <a:off x="612923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33EC97F0-9EF4-026D-53CF-4859D3543A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7085" y="1405785"/>
            <a:ext cx="404450" cy="404450"/>
          </a:xfrm>
          <a:prstGeom prst="rect">
            <a:avLst/>
          </a:prstGeom>
        </p:spPr>
      </p:pic>
      <p:sp>
        <p:nvSpPr>
          <p:cNvPr id="12" name="Untertitel 5">
            <a:extLst>
              <a:ext uri="{FF2B5EF4-FFF2-40B4-BE49-F238E27FC236}">
                <a16:creationId xmlns:a16="http://schemas.microsoft.com/office/drawing/2014/main" id="{772453C9-4076-2294-F9A8-3F83F5B8ED1B}"/>
              </a:ext>
            </a:extLst>
          </p:cNvPr>
          <p:cNvSpPr txBox="1">
            <a:spLocks/>
          </p:cNvSpPr>
          <p:nvPr/>
        </p:nvSpPr>
        <p:spPr>
          <a:xfrm>
            <a:off x="89442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C0D3022C-1354-C867-0522-FAE87791EF44}"/>
              </a:ext>
            </a:extLst>
          </p:cNvPr>
          <p:cNvSpPr>
            <a:spLocks noGrp="1"/>
          </p:cNvSpPr>
          <p:nvPr>
            <p:ph type="subTitle" idx="1"/>
          </p:nvPr>
        </p:nvSpPr>
        <p:spPr>
          <a:xfrm>
            <a:off x="975105" y="2085552"/>
            <a:ext cx="5281980" cy="7132079"/>
          </a:xfrm>
        </p:spPr>
        <p:txBody>
          <a:bodyPr/>
          <a:lstStyle/>
          <a:p>
            <a:pPr marL="72000" indent="0"/>
            <a:r>
              <a:rPr lang="en-US" sz="1200" b="1"/>
              <a:t>Objective</a:t>
            </a:r>
          </a:p>
          <a:p>
            <a:pPr marL="139700" indent="0"/>
            <a:r>
              <a:rPr lang="en-US" sz="1200"/>
              <a:t>This experiment aimed to explore how variations in head height influence energy output in a Pelton turbine. By adjusting water height, you observed changes in water pressure, turbine speed, and energy generation, providing insights into real-world applications of hydropower systems.</a:t>
            </a:r>
          </a:p>
          <a:p>
            <a:pPr marL="139700" indent="0"/>
            <a:endParaRPr lang="en-US" sz="1200"/>
          </a:p>
          <a:p>
            <a:pPr marL="72000"/>
            <a:r>
              <a:rPr lang="en-US" sz="1200" b="1"/>
              <a:t>Key Findings</a:t>
            </a:r>
            <a:endParaRPr lang="en-US" sz="1200"/>
          </a:p>
          <a:p>
            <a:pPr marL="139700" indent="0"/>
            <a:r>
              <a:rPr lang="en-US" sz="1200" b="1"/>
              <a:t>Impact of Head Height on Energy Output</a:t>
            </a:r>
            <a:endParaRPr lang="en-US" sz="1200"/>
          </a:p>
          <a:p>
            <a:pPr marL="285750" indent="-285750">
              <a:buClr>
                <a:srgbClr val="4E749C"/>
              </a:buClr>
              <a:buFont typeface="+mj-lt"/>
              <a:buAutoNum type="arabicPeriod"/>
            </a:pPr>
            <a:r>
              <a:rPr lang="en-US" sz="1200"/>
              <a:t>Higher head heights significantly increased energy output. Elevated water levels resulted in more significant water pressure, leading to faster turbine rotation and higher electricity generation.</a:t>
            </a:r>
          </a:p>
          <a:p>
            <a:pPr marL="285750" indent="-285750">
              <a:buClr>
                <a:srgbClr val="4E749C"/>
              </a:buClr>
              <a:buFont typeface="+mj-lt"/>
              <a:buAutoNum type="arabicPeriod"/>
            </a:pPr>
            <a:r>
              <a:rPr lang="en-US" sz="1200"/>
              <a:t>The experiment demonstrated the direct correlation between head height and kinetic energy conversion efficiency.</a:t>
            </a:r>
          </a:p>
          <a:p>
            <a:pPr marL="139700" indent="0"/>
            <a:r>
              <a:rPr lang="en-US" sz="1200" b="1"/>
              <a:t>Understanding Potential Energy</a:t>
            </a:r>
            <a:endParaRPr lang="en-US" sz="1200"/>
          </a:p>
          <a:p>
            <a:pPr marL="285750" indent="-285750">
              <a:buClr>
                <a:srgbClr val="4E749C"/>
              </a:buClr>
              <a:buFont typeface="+mj-lt"/>
              <a:buAutoNum type="arabicPeriod"/>
            </a:pPr>
            <a:r>
              <a:rPr lang="en-US" sz="1200"/>
              <a:t>The experiment illustrated how water's potential energy is proportional to its height. Potential energy converts more effectively into kinetic energy at greater heights as water flows toward the turbine, maximizing efficiency.</a:t>
            </a:r>
          </a:p>
          <a:p>
            <a:pPr marL="0" indent="0">
              <a:buClr>
                <a:srgbClr val="4E749C"/>
              </a:buClr>
            </a:pPr>
            <a:endParaRPr lang="en-US" sz="1200"/>
          </a:p>
          <a:p>
            <a:pPr marL="72000" indent="0"/>
            <a:r>
              <a:rPr lang="en-US" sz="1200" b="1"/>
              <a:t>Real-World Application</a:t>
            </a:r>
            <a:endParaRPr lang="en-US" sz="1200"/>
          </a:p>
          <a:p>
            <a:pPr marL="108000" indent="0"/>
            <a:r>
              <a:rPr lang="en-US" sz="1200"/>
              <a:t>The concept of head height is critical in designing hydropower plants. Engineers often use natural elevation differences or dams to optimize water pressure and ensure consistent energy output from turbines.</a:t>
            </a:r>
          </a:p>
          <a:p>
            <a:pPr>
              <a:buFont typeface="Arial" panose="020B0604020202020204" pitchFamily="34" charset="0"/>
              <a:buChar char="•"/>
            </a:pPr>
            <a:endParaRPr lang="en-US" sz="1200"/>
          </a:p>
          <a:p>
            <a:r>
              <a:rPr lang="en-US" sz="1200" b="1"/>
              <a:t>Practical Skills Developed</a:t>
            </a:r>
            <a:endParaRPr lang="en-US" sz="1200"/>
          </a:p>
          <a:p>
            <a:pPr marL="311150" indent="-171450">
              <a:buClr>
                <a:srgbClr val="4E749C"/>
              </a:buClr>
              <a:buFont typeface="Arial" panose="020B0604020202020204" pitchFamily="34" charset="0"/>
              <a:buChar char="•"/>
            </a:pPr>
            <a:r>
              <a:rPr lang="en-US" sz="1200" b="1"/>
              <a:t>Kit Assembly</a:t>
            </a:r>
            <a:r>
              <a:rPr lang="en-US" sz="1200"/>
              <a:t>: You learned how to assemble the hydro energy kit, including attaching the turbine to the case, connecting the generator and ensuring all components were securely fastened.</a:t>
            </a:r>
          </a:p>
          <a:p>
            <a:pPr marL="311150" indent="-171450">
              <a:buClr>
                <a:srgbClr val="4E749C"/>
              </a:buClr>
              <a:buFont typeface="Arial" panose="020B0604020202020204" pitchFamily="34" charset="0"/>
              <a:buChar char="•"/>
            </a:pPr>
            <a:r>
              <a:rPr lang="en-US" sz="1200" b="1"/>
              <a:t>Instrument Usage</a:t>
            </a:r>
            <a:r>
              <a:rPr lang="en-US" sz="1200"/>
              <a:t>: The experiment provided practical training in using a multimeter to measure voltage and current.</a:t>
            </a:r>
          </a:p>
          <a:p>
            <a:pPr marL="311150" indent="-171450">
              <a:buClr>
                <a:srgbClr val="4E749C"/>
              </a:buClr>
              <a:buFont typeface="Arial" panose="020B0604020202020204" pitchFamily="34" charset="0"/>
              <a:buChar char="•"/>
            </a:pPr>
            <a:r>
              <a:rPr lang="en-US" sz="1200" b="1"/>
              <a:t>Data Collection and Analysis: </a:t>
            </a:r>
            <a:r>
              <a:rPr lang="en-US" sz="1200"/>
              <a:t>You were able to record and analyze energy output at different heights, enhancing their ability to interpret experimental results.</a:t>
            </a:r>
          </a:p>
          <a:p>
            <a:pPr marL="311150" indent="-171450">
              <a:buFont typeface="Arial" panose="020B0604020202020204" pitchFamily="34" charset="0"/>
              <a:buChar char="•"/>
            </a:pPr>
            <a:endParaRPr lang="en-US" sz="1200"/>
          </a:p>
          <a:p>
            <a:pPr marL="139700" indent="0"/>
            <a:endParaRPr lang="en-US" sz="1200"/>
          </a:p>
        </p:txBody>
      </p:sp>
    </p:spTree>
    <p:extLst>
      <p:ext uri="{BB962C8B-B14F-4D97-AF65-F5344CB8AC3E}">
        <p14:creationId xmlns:p14="http://schemas.microsoft.com/office/powerpoint/2010/main" val="19305445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03">
          <a:extLst>
            <a:ext uri="{FF2B5EF4-FFF2-40B4-BE49-F238E27FC236}">
              <a16:creationId xmlns:a16="http://schemas.microsoft.com/office/drawing/2014/main" id="{AB153597-80BA-B0CD-2836-349AB49E0D1F}"/>
            </a:ext>
          </a:extLst>
        </p:cNvPr>
        <p:cNvGrpSpPr/>
        <p:nvPr/>
      </p:nvGrpSpPr>
      <p:grpSpPr>
        <a:xfrm>
          <a:off x="0" y="0"/>
          <a:ext cx="0" cy="0"/>
          <a:chOff x="0" y="0"/>
          <a:chExt cx="0" cy="0"/>
        </a:xfrm>
      </p:grpSpPr>
      <p:sp>
        <p:nvSpPr>
          <p:cNvPr id="304" name="Google Shape;304;p24">
            <a:extLst>
              <a:ext uri="{FF2B5EF4-FFF2-40B4-BE49-F238E27FC236}">
                <a16:creationId xmlns:a16="http://schemas.microsoft.com/office/drawing/2014/main" id="{A14DB14D-6332-266E-10BE-8C636B3683E2}"/>
              </a:ext>
            </a:extLst>
          </p:cNvPr>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305" name="Google Shape;305;p24">
            <a:extLst>
              <a:ext uri="{FF2B5EF4-FFF2-40B4-BE49-F238E27FC236}">
                <a16:creationId xmlns:a16="http://schemas.microsoft.com/office/drawing/2014/main" id="{789D5591-4A60-D8B9-E132-6FB2BE790F3E}"/>
              </a:ext>
            </a:extLst>
          </p:cNvPr>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a:extLst>
              <a:ext uri="{FF2B5EF4-FFF2-40B4-BE49-F238E27FC236}">
                <a16:creationId xmlns:a16="http://schemas.microsoft.com/office/drawing/2014/main" id="{A6FB44EB-481A-5583-3331-EF78A32C965E}"/>
              </a:ext>
            </a:extLst>
          </p:cNvPr>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
              <a:t>Hydro Energy</a:t>
            </a:r>
            <a:br>
              <a:rPr lang="en"/>
            </a:br>
            <a:r>
              <a:rPr lang="en"/>
              <a:t>Education HUB</a:t>
            </a:r>
            <a:endParaRPr lang="it-IT"/>
          </a:p>
          <a:p>
            <a:r>
              <a:rPr lang="en" b="0"/>
              <a:t>Chapter 4</a:t>
            </a:r>
            <a:endParaRPr b="0"/>
          </a:p>
        </p:txBody>
      </p:sp>
      <p:sp>
        <p:nvSpPr>
          <p:cNvPr id="327" name="Google Shape;327;p24">
            <a:extLst>
              <a:ext uri="{FF2B5EF4-FFF2-40B4-BE49-F238E27FC236}">
                <a16:creationId xmlns:a16="http://schemas.microsoft.com/office/drawing/2014/main" id="{2B26339E-9C64-2EC4-E9C4-1DA38B723134}"/>
              </a:ext>
            </a:extLst>
          </p:cNvPr>
          <p:cNvSpPr txBox="1">
            <a:spLocks noGrp="1"/>
          </p:cNvSpPr>
          <p:nvPr>
            <p:ph type="subTitle" idx="1"/>
          </p:nvPr>
        </p:nvSpPr>
        <p:spPr>
          <a:xfrm>
            <a:off x="2753754" y="5992363"/>
            <a:ext cx="4216106" cy="1014575"/>
          </a:xfrm>
          <a:prstGeom prst="rect">
            <a:avLst/>
          </a:prstGeom>
          <a:solidFill>
            <a:schemeClr val="accent5">
              <a:lumMod val="20000"/>
              <a:lumOff val="80000"/>
            </a:schemeClr>
          </a:solidFill>
          <a:ln>
            <a:noFill/>
          </a:ln>
        </p:spPr>
        <p:txBody>
          <a:bodyPr spcFirstLastPara="1" wrap="square" lIns="75584" tIns="75584" rIns="75584" bIns="75584" anchor="ctr" anchorCtr="0">
            <a:noAutofit/>
          </a:bodyPr>
          <a:lstStyle/>
          <a:p>
            <a:pPr marL="0" indent="0"/>
            <a:r>
              <a:rPr lang="en" sz="2800" b="1"/>
              <a:t>Concepts of Grid and Combining DERs</a:t>
            </a:r>
          </a:p>
        </p:txBody>
      </p:sp>
      <p:sp>
        <p:nvSpPr>
          <p:cNvPr id="4" name="Rechteck 3">
            <a:extLst>
              <a:ext uri="{FF2B5EF4-FFF2-40B4-BE49-F238E27FC236}">
                <a16:creationId xmlns:a16="http://schemas.microsoft.com/office/drawing/2014/main" id="{09CF5B3F-B4E4-4686-0B79-FBA1F58FE5EB}"/>
              </a:ext>
            </a:extLst>
          </p:cNvPr>
          <p:cNvSpPr/>
          <p:nvPr/>
        </p:nvSpPr>
        <p:spPr>
          <a:xfrm>
            <a:off x="870038" y="4511940"/>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4607BFCC-D7E3-AF88-695D-7CB75BC6B2F9}"/>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EFD3CC09-FBFA-5812-E111-425091D52619}"/>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descr="Ein Bild, das Kreis, Kunst, Symmetrie, Design enthält.&#10;&#10;Automatisch generierte Beschreibung">
            <a:extLst>
              <a:ext uri="{FF2B5EF4-FFF2-40B4-BE49-F238E27FC236}">
                <a16:creationId xmlns:a16="http://schemas.microsoft.com/office/drawing/2014/main" id="{FDBC147E-FE45-690A-2B88-5DB6F78BF525}"/>
              </a:ext>
            </a:extLst>
          </p:cNvPr>
          <p:cNvPicPr>
            <a:picLocks noChangeAspect="1"/>
          </p:cNvPicPr>
          <p:nvPr/>
        </p:nvPicPr>
        <p:blipFill>
          <a:blip r:embed="rId3"/>
          <a:stretch>
            <a:fillRect/>
          </a:stretch>
        </p:blipFill>
        <p:spPr>
          <a:xfrm>
            <a:off x="480748" y="4511940"/>
            <a:ext cx="2086513" cy="2086513"/>
          </a:xfrm>
          <a:prstGeom prst="rect">
            <a:avLst/>
          </a:prstGeom>
        </p:spPr>
      </p:pic>
    </p:spTree>
    <p:extLst>
      <p:ext uri="{BB962C8B-B14F-4D97-AF65-F5344CB8AC3E}">
        <p14:creationId xmlns:p14="http://schemas.microsoft.com/office/powerpoint/2010/main" val="15322702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BA7EE-11CE-1539-6F10-FE8470764D85}"/>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7F34642-48A9-B9F8-16BD-26A80574B5A3}"/>
              </a:ext>
            </a:extLst>
          </p:cNvPr>
          <p:cNvSpPr>
            <a:spLocks noGrp="1"/>
          </p:cNvSpPr>
          <p:nvPr>
            <p:ph type="sldNum" sz="quarter" idx="4"/>
          </p:nvPr>
        </p:nvSpPr>
        <p:spPr/>
        <p:txBody>
          <a:bodyPr/>
          <a:lstStyle/>
          <a:p>
            <a:fld id="{DF7F771E-9578-4C04-B869-01AF4C35C90C}" type="slidenum">
              <a:rPr lang="de-DE" smtClean="0"/>
              <a:t>68</a:t>
            </a:fld>
            <a:endParaRPr lang="de-DE"/>
          </a:p>
        </p:txBody>
      </p:sp>
      <p:sp>
        <p:nvSpPr>
          <p:cNvPr id="4" name="Titel 1">
            <a:extLst>
              <a:ext uri="{FF2B5EF4-FFF2-40B4-BE49-F238E27FC236}">
                <a16:creationId xmlns:a16="http://schemas.microsoft.com/office/drawing/2014/main" id="{183DF98E-C441-228F-DE03-79A375ECAA01}"/>
              </a:ext>
            </a:extLst>
          </p:cNvPr>
          <p:cNvSpPr>
            <a:spLocks noGrp="1"/>
          </p:cNvSpPr>
          <p:nvPr>
            <p:ph type="title"/>
          </p:nvPr>
        </p:nvSpPr>
        <p:spPr>
          <a:xfrm>
            <a:off x="719138" y="1277938"/>
            <a:ext cx="6380336" cy="1190474"/>
          </a:xfrm>
        </p:spPr>
        <p:txBody>
          <a:bodyPr/>
          <a:lstStyle/>
          <a:p>
            <a:r>
              <a:rPr lang="de-DE"/>
              <a:t>1. </a:t>
            </a:r>
            <a:r>
              <a:rPr lang="de-DE" err="1"/>
              <a:t>Baseload</a:t>
            </a:r>
            <a:r>
              <a:rPr lang="de-DE"/>
              <a:t> and </a:t>
            </a:r>
            <a:r>
              <a:rPr lang="de-DE" err="1"/>
              <a:t>Reliability</a:t>
            </a:r>
            <a:r>
              <a:rPr lang="de-DE"/>
              <a:t> </a:t>
            </a:r>
            <a:r>
              <a:rPr lang="de-DE" err="1"/>
              <a:t>of</a:t>
            </a:r>
            <a:r>
              <a:rPr lang="de-DE"/>
              <a:t> PV, Wind and </a:t>
            </a:r>
            <a:r>
              <a:rPr lang="de-DE" err="1"/>
              <a:t>Hydro</a:t>
            </a:r>
            <a:r>
              <a:rPr lang="de-DE"/>
              <a:t> Energy</a:t>
            </a:r>
          </a:p>
        </p:txBody>
      </p:sp>
      <p:sp>
        <p:nvSpPr>
          <p:cNvPr id="6" name="Untertitel 3">
            <a:extLst>
              <a:ext uri="{FF2B5EF4-FFF2-40B4-BE49-F238E27FC236}">
                <a16:creationId xmlns:a16="http://schemas.microsoft.com/office/drawing/2014/main" id="{AAFB8BBB-C946-CB5B-0041-66C56572F346}"/>
              </a:ext>
            </a:extLst>
          </p:cNvPr>
          <p:cNvSpPr txBox="1">
            <a:spLocks/>
          </p:cNvSpPr>
          <p:nvPr/>
        </p:nvSpPr>
        <p:spPr>
          <a:xfrm>
            <a:off x="749436" y="2398685"/>
            <a:ext cx="5883912" cy="7661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This bingo game offers a playful yet essential way to understand the varying reliabilities  of renewable energy sources like PV, wind, and hydro, with a focus on baseload and its impact on grid stability.</a:t>
            </a:r>
            <a:endParaRPr lang="de-DE" sz="1200"/>
          </a:p>
        </p:txBody>
      </p:sp>
      <p:sp>
        <p:nvSpPr>
          <p:cNvPr id="11" name="Untertitel 3">
            <a:extLst>
              <a:ext uri="{FF2B5EF4-FFF2-40B4-BE49-F238E27FC236}">
                <a16:creationId xmlns:a16="http://schemas.microsoft.com/office/drawing/2014/main" id="{02D39D7D-34E1-9E8D-E20C-86B985622BAF}"/>
              </a:ext>
            </a:extLst>
          </p:cNvPr>
          <p:cNvSpPr txBox="1">
            <a:spLocks/>
          </p:cNvSpPr>
          <p:nvPr/>
        </p:nvSpPr>
        <p:spPr>
          <a:xfrm>
            <a:off x="749436" y="4212112"/>
            <a:ext cx="5952921" cy="223567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Instructions </a:t>
            </a:r>
          </a:p>
          <a:p>
            <a:pPr marL="368300" indent="-228600">
              <a:lnSpc>
                <a:spcPct val="150000"/>
              </a:lnSpc>
              <a:buClr>
                <a:schemeClr val="accent5"/>
              </a:buClr>
              <a:buSzPct val="121000"/>
              <a:buFont typeface="+mj-lt"/>
              <a:buAutoNum type="arabicPeriod"/>
            </a:pPr>
            <a:r>
              <a:rPr lang="en-US" sz="1200"/>
              <a:t>Below are </a:t>
            </a:r>
            <a:r>
              <a:rPr lang="en-US" sz="1200" b="1"/>
              <a:t>16 Answers</a:t>
            </a:r>
            <a:r>
              <a:rPr lang="en-US" sz="1200"/>
              <a:t>, each corresponding to one of </a:t>
            </a:r>
            <a:r>
              <a:rPr lang="en-US" sz="1200" b="1"/>
              <a:t>16 Questions</a:t>
            </a:r>
            <a:r>
              <a:rPr lang="en-US" sz="1200"/>
              <a:t> in a Question Bank. </a:t>
            </a:r>
            <a:endParaRPr lang="en-US" sz="1200">
              <a:latin typeface="Sofia Sans" panose="020B0604020202020204" charset="0"/>
            </a:endParaRPr>
          </a:p>
          <a:p>
            <a:pPr marL="368300" indent="-228600">
              <a:lnSpc>
                <a:spcPct val="150000"/>
              </a:lnSpc>
              <a:buClr>
                <a:schemeClr val="accent5"/>
              </a:buClr>
              <a:buSzPct val="121000"/>
              <a:buFont typeface="+mj-lt"/>
              <a:buAutoNum type="arabicPeriod"/>
            </a:pPr>
            <a:r>
              <a:rPr lang="en-US" sz="1200"/>
              <a:t>Your teacher will randomly select </a:t>
            </a:r>
            <a:r>
              <a:rPr lang="en-US" sz="1200" b="1"/>
              <a:t>1 Question</a:t>
            </a:r>
            <a:r>
              <a:rPr lang="en-US" sz="1200"/>
              <a:t> from the Question Bank and read it aloud.</a:t>
            </a:r>
            <a:r>
              <a:rPr lang="en-US" sz="1200">
                <a:latin typeface="Sofia Sans" panose="020B0604020202020204" charset="0"/>
              </a:rPr>
              <a:t> </a:t>
            </a:r>
          </a:p>
          <a:p>
            <a:pPr marL="368300" indent="-228600">
              <a:lnSpc>
                <a:spcPct val="150000"/>
              </a:lnSpc>
              <a:buClr>
                <a:schemeClr val="accent5"/>
              </a:buClr>
              <a:buSzPct val="121000"/>
              <a:buFont typeface="+mj-lt"/>
              <a:buAutoNum type="arabicPeriod"/>
            </a:pPr>
            <a:r>
              <a:rPr lang="en-US" sz="1200"/>
              <a:t>Your task is to match the Question with the correct Answer!</a:t>
            </a:r>
          </a:p>
          <a:p>
            <a:pPr marL="368300" indent="-228600">
              <a:lnSpc>
                <a:spcPct val="150000"/>
              </a:lnSpc>
              <a:buClr>
                <a:schemeClr val="accent5"/>
              </a:buClr>
              <a:buSzPct val="121000"/>
              <a:buFont typeface="+mj-lt"/>
              <a:buAutoNum type="arabicPeriod"/>
            </a:pPr>
            <a:r>
              <a:rPr lang="en-US" sz="1200"/>
              <a:t>If you correctly match </a:t>
            </a:r>
            <a:r>
              <a:rPr lang="en-US" sz="1200" b="1"/>
              <a:t>4 in a row</a:t>
            </a:r>
            <a:r>
              <a:rPr lang="en-US" sz="1200"/>
              <a:t> (horizontally, vertically or diagonally), you score a </a:t>
            </a:r>
            <a:r>
              <a:rPr lang="en-US" sz="1200" b="1"/>
              <a:t>BINGO!</a:t>
            </a:r>
            <a:endParaRPr lang="en-US" sz="1200">
              <a:latin typeface="Sofia Sans" panose="020B0604020202020204" charset="0"/>
            </a:endParaRPr>
          </a:p>
          <a:p>
            <a:pPr marL="368300" indent="-228600">
              <a:lnSpc>
                <a:spcPct val="150000"/>
              </a:lnSpc>
              <a:buClr>
                <a:schemeClr val="accent5"/>
              </a:buClr>
              <a:buSzPct val="121000"/>
              <a:buFont typeface="+mj-lt"/>
              <a:buAutoNum type="arabicPeriod"/>
            </a:pPr>
            <a:endParaRPr lang="en-US" sz="1200">
              <a:latin typeface="Sofia Sans" panose="020B0604020202020204" charset="0"/>
            </a:endParaRPr>
          </a:p>
          <a:p>
            <a:pPr marL="368300" indent="-228600">
              <a:lnSpc>
                <a:spcPct val="150000"/>
              </a:lnSpc>
              <a:buClr>
                <a:schemeClr val="accent5"/>
              </a:buClr>
              <a:buSzPct val="121000"/>
              <a:buFont typeface="+mj-lt"/>
              <a:buAutoNum type="arabicPeriod"/>
            </a:pPr>
            <a:endParaRPr lang="en-US" sz="1200" b="0">
              <a:latin typeface="Sofia Sans" panose="020B0604020202020204" charset="0"/>
            </a:endParaRPr>
          </a:p>
          <a:p>
            <a:pPr marL="368300" indent="-228600">
              <a:lnSpc>
                <a:spcPct val="150000"/>
              </a:lnSpc>
              <a:buClr>
                <a:schemeClr val="accent5"/>
              </a:buClr>
              <a:buSzPct val="121000"/>
              <a:buFont typeface="+mj-lt"/>
              <a:buAutoNum type="arabicPeriod"/>
            </a:pPr>
            <a:endParaRPr lang="en-US" sz="1200" b="0">
              <a:latin typeface="Sofia Sans" panose="020B0604020202020204" charset="0"/>
            </a:endParaRPr>
          </a:p>
          <a:p>
            <a:pPr>
              <a:buFont typeface="+mj-lt"/>
              <a:buAutoNum type="arabicPeriod"/>
            </a:pPr>
            <a:endParaRPr lang="en-US" sz="1200" b="1"/>
          </a:p>
        </p:txBody>
      </p:sp>
      <p:grpSp>
        <p:nvGrpSpPr>
          <p:cNvPr id="13" name="Gruppieren 12">
            <a:extLst>
              <a:ext uri="{FF2B5EF4-FFF2-40B4-BE49-F238E27FC236}">
                <a16:creationId xmlns:a16="http://schemas.microsoft.com/office/drawing/2014/main" id="{FB0DEB22-411D-88BF-59F8-8D46E2727D0F}"/>
              </a:ext>
            </a:extLst>
          </p:cNvPr>
          <p:cNvGrpSpPr/>
          <p:nvPr/>
        </p:nvGrpSpPr>
        <p:grpSpPr>
          <a:xfrm>
            <a:off x="749436" y="3349095"/>
            <a:ext cx="2000022" cy="480127"/>
            <a:chOff x="717779" y="1922947"/>
            <a:chExt cx="2000022" cy="480127"/>
          </a:xfrm>
        </p:grpSpPr>
        <p:sp>
          <p:nvSpPr>
            <p:cNvPr id="14" name="Untertitel 5">
              <a:extLst>
                <a:ext uri="{FF2B5EF4-FFF2-40B4-BE49-F238E27FC236}">
                  <a16:creationId xmlns:a16="http://schemas.microsoft.com/office/drawing/2014/main" id="{A70C974F-860F-65C4-E595-886E25152546}"/>
                </a:ext>
              </a:extLst>
            </p:cNvPr>
            <p:cNvSpPr txBox="1">
              <a:spLocks/>
            </p:cNvSpPr>
            <p:nvPr/>
          </p:nvSpPr>
          <p:spPr>
            <a:xfrm>
              <a:off x="1136421" y="1928883"/>
              <a:ext cx="158138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5" name="Ellipse 14">
              <a:extLst>
                <a:ext uri="{FF2B5EF4-FFF2-40B4-BE49-F238E27FC236}">
                  <a16:creationId xmlns:a16="http://schemas.microsoft.com/office/drawing/2014/main" id="{6694120A-ED06-62A4-8AA9-66CD46C37F95}"/>
                </a:ext>
              </a:extLst>
            </p:cNvPr>
            <p:cNvSpPr>
              <a:spLocks noChangeAspect="1"/>
            </p:cNvSpPr>
            <p:nvPr/>
          </p:nvSpPr>
          <p:spPr>
            <a:xfrm>
              <a:off x="717779" y="1922947"/>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Skizze mit einfarbiger Füllung">
              <a:extLst>
                <a:ext uri="{FF2B5EF4-FFF2-40B4-BE49-F238E27FC236}">
                  <a16:creationId xmlns:a16="http://schemas.microsoft.com/office/drawing/2014/main" id="{2CA6C7AC-F80C-02A9-E2D6-AA2F738639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1986679"/>
              <a:ext cx="379044" cy="379044"/>
            </a:xfrm>
            <a:prstGeom prst="rect">
              <a:avLst/>
            </a:prstGeom>
          </p:spPr>
        </p:pic>
      </p:grpSp>
      <p:sp>
        <p:nvSpPr>
          <p:cNvPr id="19" name="Untertitel 5">
            <a:extLst>
              <a:ext uri="{FF2B5EF4-FFF2-40B4-BE49-F238E27FC236}">
                <a16:creationId xmlns:a16="http://schemas.microsoft.com/office/drawing/2014/main" id="{6E0DD182-8FC0-261A-8B12-DD7706ABAA3A}"/>
              </a:ext>
            </a:extLst>
          </p:cNvPr>
          <p:cNvSpPr txBox="1">
            <a:spLocks/>
          </p:cNvSpPr>
          <p:nvPr/>
        </p:nvSpPr>
        <p:spPr>
          <a:xfrm>
            <a:off x="719138" y="3833279"/>
            <a:ext cx="1117773"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a:t>
            </a:r>
          </a:p>
        </p:txBody>
      </p:sp>
      <p:graphicFrame>
        <p:nvGraphicFramePr>
          <p:cNvPr id="20" name="Tabelle 19">
            <a:extLst>
              <a:ext uri="{FF2B5EF4-FFF2-40B4-BE49-F238E27FC236}">
                <a16:creationId xmlns:a16="http://schemas.microsoft.com/office/drawing/2014/main" id="{7FBF7859-325D-03EB-BBF8-E8A4D8C53CE9}"/>
              </a:ext>
            </a:extLst>
          </p:cNvPr>
          <p:cNvGraphicFramePr>
            <a:graphicFrameLocks noGrp="1"/>
          </p:cNvGraphicFramePr>
          <p:nvPr>
            <p:extLst>
              <p:ext uri="{D42A27DB-BD31-4B8C-83A1-F6EECF244321}">
                <p14:modId xmlns:p14="http://schemas.microsoft.com/office/powerpoint/2010/main" val="3198041746"/>
              </p:ext>
            </p:extLst>
          </p:nvPr>
        </p:nvGraphicFramePr>
        <p:xfrm>
          <a:off x="1278024" y="6556540"/>
          <a:ext cx="5039784" cy="3413760"/>
        </p:xfrm>
        <a:graphic>
          <a:graphicData uri="http://schemas.openxmlformats.org/drawingml/2006/table">
            <a:tbl>
              <a:tblPr firstRow="1" bandRow="1">
                <a:tableStyleId>{87981CF4-4D3E-4045-9ACF-D1447FECE155}</a:tableStyleId>
              </a:tblPr>
              <a:tblGrid>
                <a:gridCol w="1259946">
                  <a:extLst>
                    <a:ext uri="{9D8B030D-6E8A-4147-A177-3AD203B41FA5}">
                      <a16:colId xmlns:a16="http://schemas.microsoft.com/office/drawing/2014/main" val="307333313"/>
                    </a:ext>
                  </a:extLst>
                </a:gridCol>
                <a:gridCol w="1259946">
                  <a:extLst>
                    <a:ext uri="{9D8B030D-6E8A-4147-A177-3AD203B41FA5}">
                      <a16:colId xmlns:a16="http://schemas.microsoft.com/office/drawing/2014/main" val="2657250933"/>
                    </a:ext>
                  </a:extLst>
                </a:gridCol>
                <a:gridCol w="1259946">
                  <a:extLst>
                    <a:ext uri="{9D8B030D-6E8A-4147-A177-3AD203B41FA5}">
                      <a16:colId xmlns:a16="http://schemas.microsoft.com/office/drawing/2014/main" val="4250841764"/>
                    </a:ext>
                  </a:extLst>
                </a:gridCol>
                <a:gridCol w="1259946">
                  <a:extLst>
                    <a:ext uri="{9D8B030D-6E8A-4147-A177-3AD203B41FA5}">
                      <a16:colId xmlns:a16="http://schemas.microsoft.com/office/drawing/2014/main" val="3034517169"/>
                    </a:ext>
                  </a:extLst>
                </a:gridCol>
              </a:tblGrid>
              <a:tr h="370840">
                <a:tc>
                  <a:txBody>
                    <a:bodyPr/>
                    <a:lstStyle/>
                    <a:p>
                      <a:pPr algn="ctr"/>
                      <a:r>
                        <a:rPr lang="de-DE" sz="800" b="0" i="0" u="none" strike="noStrike" cap="none">
                          <a:solidFill>
                            <a:schemeClr val="tx1"/>
                          </a:solidFill>
                          <a:effectLst/>
                          <a:latin typeface="Sofia Sans" panose="020B0604020202020204" charset="0"/>
                          <a:ea typeface="Arial"/>
                          <a:cs typeface="Arial"/>
                          <a:sym typeface="Arial"/>
                        </a:rPr>
                        <a:t>1</a:t>
                      </a:r>
                      <a:r>
                        <a:rPr lang="de-DE" sz="800" b="0" i="0" u="none" strike="noStrike" cap="none">
                          <a:solidFill>
                            <a:srgbClr val="000000"/>
                          </a:solidFill>
                          <a:effectLst/>
                          <a:latin typeface="Sofia Sans" panose="020B0604020202020204" charset="0"/>
                          <a:ea typeface="Arial"/>
                          <a:cs typeface="Arial"/>
                          <a:sym typeface="Arial"/>
                        </a:rPr>
                        <a:t> </a:t>
                      </a:r>
                      <a:r>
                        <a:rPr lang="en-DE" sz="800" b="0" i="0" u="none" strike="noStrike" cap="none">
                          <a:solidFill>
                            <a:srgbClr val="000000"/>
                          </a:solidFill>
                          <a:effectLst/>
                          <a:latin typeface="Sofia Sans" panose="020B0604020202020204" charset="0"/>
                          <a:ea typeface="Arial"/>
                          <a:cs typeface="Arial"/>
                          <a:sym typeface="Arial"/>
                        </a:rPr>
                        <a:t>Hydropower is the most reliable renewable energy source for meeting baseload needs</a:t>
                      </a:r>
                      <a:endParaRPr lang="en-DE" sz="800">
                        <a:latin typeface="Sofia Sans" panose="020B0604020202020204" charset="0"/>
                      </a:endParaRPr>
                    </a:p>
                  </a:txBody>
                  <a:tcPr anchor="ctr"/>
                </a:tc>
                <a:tc>
                  <a:txBody>
                    <a:bodyPr/>
                    <a:lstStyle/>
                    <a:p>
                      <a:pPr algn="ctr"/>
                      <a:r>
                        <a:rPr lang="en-US" sz="800" kern="100">
                          <a:latin typeface="Sofia Sans" panose="020B0604020202020204" charset="0"/>
                          <a:cs typeface="Times New Roman" panose="02020603050405020304" pitchFamily="18" charset="0"/>
                        </a:rPr>
                        <a:t>10 Battery storage helps manage supply</a:t>
                      </a: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lang="en-DE" sz="800" b="0" i="0" u="none" strike="noStrike" cap="none">
                          <a:solidFill>
                            <a:srgbClr val="000000"/>
                          </a:solidFill>
                          <a:effectLst/>
                          <a:latin typeface="Sofia Sans" panose="020B0604020202020204" charset="0"/>
                          <a:ea typeface="Arial"/>
                          <a:cs typeface="Arial"/>
                          <a:sym typeface="Arial"/>
                        </a:rPr>
                      </a:br>
                      <a:r>
                        <a:rPr lang="de-DE" sz="800" b="0" i="0" u="none" strike="noStrike" cap="none">
                          <a:solidFill>
                            <a:srgbClr val="000000"/>
                          </a:solidFill>
                          <a:effectLst/>
                          <a:latin typeface="Sofia Sans" panose="020B0604020202020204" charset="0"/>
                          <a:ea typeface="Arial"/>
                          <a:cs typeface="Arial"/>
                          <a:sym typeface="Arial"/>
                        </a:rPr>
                        <a:t>4 </a:t>
                      </a:r>
                      <a:r>
                        <a:rPr lang="en-DE" sz="800" b="0" i="0" u="none" strike="noStrike" cap="none">
                          <a:solidFill>
                            <a:srgbClr val="000000"/>
                          </a:solidFill>
                          <a:effectLst/>
                          <a:latin typeface="Sofia Sans" panose="020B0604020202020204" charset="0"/>
                          <a:ea typeface="Arial"/>
                          <a:cs typeface="Arial"/>
                          <a:sym typeface="Arial"/>
                        </a:rPr>
                        <a:t>It ensures that essential services, like refrigeration and streetlights, continue running.</a:t>
                      </a:r>
                    </a:p>
                    <a:p>
                      <a:pPr algn="ctr"/>
                      <a:endParaRPr lang="en-DE" sz="800">
                        <a:latin typeface="Sofia Sans" panose="020B0604020202020204" charset="0"/>
                      </a:endParaRPr>
                    </a:p>
                  </a:txBody>
                  <a:tcPr anchor="ctr"/>
                </a:tc>
                <a:tc>
                  <a:txBody>
                    <a:bodyPr/>
                    <a:lstStyle/>
                    <a:p>
                      <a:pPr algn="ctr"/>
                      <a:r>
                        <a:rPr lang="de-DE" sz="800" b="0" i="0" u="none" strike="noStrike" cap="none">
                          <a:solidFill>
                            <a:srgbClr val="000000"/>
                          </a:solidFill>
                          <a:effectLst/>
                          <a:latin typeface="Sofia Sans" panose="020B0604020202020204" charset="0"/>
                          <a:ea typeface="Arial"/>
                          <a:cs typeface="Arial"/>
                          <a:sym typeface="Arial"/>
                        </a:rPr>
                        <a:t>6 </a:t>
                      </a:r>
                      <a:r>
                        <a:rPr lang="en-DE" sz="800" b="0" i="0" u="none" strike="noStrike" cap="none">
                          <a:solidFill>
                            <a:srgbClr val="000000"/>
                          </a:solidFill>
                          <a:effectLst/>
                          <a:latin typeface="Sofia Sans" panose="020B0604020202020204" charset="0"/>
                          <a:ea typeface="Arial"/>
                          <a:cs typeface="Arial"/>
                          <a:sym typeface="Arial"/>
                        </a:rPr>
                        <a:t>Their output depends on weather and time, making them unreliable without backup storage</a:t>
                      </a:r>
                      <a:endParaRPr lang="en-DE" sz="800">
                        <a:latin typeface="Sofia Sans" panose="020B0604020202020204" charset="0"/>
                      </a:endParaRPr>
                    </a:p>
                  </a:txBody>
                  <a:tcPr anchor="ctr"/>
                </a:tc>
                <a:extLst>
                  <a:ext uri="{0D108BD9-81ED-4DB2-BD59-A6C34878D82A}">
                    <a16:rowId xmlns:a16="http://schemas.microsoft.com/office/drawing/2014/main" val="1105142575"/>
                  </a:ext>
                </a:extLst>
              </a:tr>
              <a:tr h="370840">
                <a:tc>
                  <a:txBody>
                    <a:bodyPr/>
                    <a:lstStyle/>
                    <a:p>
                      <a:pPr algn="ctr"/>
                      <a:r>
                        <a:rPr lang="en-US" sz="800">
                          <a:latin typeface="Sofia Sans" panose="020B0604020202020204" charset="0"/>
                        </a:rPr>
                        <a:t>11 The minimum power the grid always needs</a:t>
                      </a: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latin typeface="Sofia Sans" panose="020B0604020202020204" charset="0"/>
                          <a:ea typeface="Aptos" panose="020B0004020202020204" pitchFamily="34" charset="0"/>
                          <a:cs typeface="Times New Roman" panose="02020603050405020304" pitchFamily="18" charset="0"/>
                        </a:rPr>
                        <a:t>7 </a:t>
                      </a:r>
                      <a:r>
                        <a:rPr lang="en-DE" sz="800" kern="100">
                          <a:effectLst/>
                          <a:latin typeface="Sofia Sans" panose="020B0604020202020204" charset="0"/>
                          <a:ea typeface="Aptos" panose="020B0004020202020204" pitchFamily="34" charset="0"/>
                          <a:cs typeface="Times New Roman" panose="02020603050405020304" pitchFamily="18" charset="0"/>
                        </a:rPr>
                        <a:t>Combining sources like wind, solar, and hydro ensures a more stable and consistent energy supply</a:t>
                      </a:r>
                    </a:p>
                    <a:p>
                      <a:pPr algn="ctr"/>
                      <a:endParaRPr lang="en-DE" sz="800">
                        <a:latin typeface="Sofia Sans" panose="020B0604020202020204" charset="0"/>
                      </a:endParaRPr>
                    </a:p>
                  </a:txBody>
                  <a:tcPr anchor="ctr"/>
                </a:tc>
                <a:tc>
                  <a:txBody>
                    <a:bodyPr/>
                    <a:lstStyle/>
                    <a:p>
                      <a:pPr algn="ctr"/>
                      <a:r>
                        <a:rPr lang="en-US" sz="800">
                          <a:latin typeface="Sofia Sans" panose="020B0604020202020204" charset="0"/>
                        </a:rPr>
                        <a:t>12 Hydro is better than solar for this</a:t>
                      </a: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latin typeface="Sofia Sans" panose="020B0604020202020204" charset="0"/>
                          <a:ea typeface="Aptos" panose="020B0004020202020204" pitchFamily="34" charset="0"/>
                          <a:cs typeface="Times New Roman" panose="02020603050405020304" pitchFamily="18" charset="0"/>
                        </a:rPr>
                        <a:t>8 </a:t>
                      </a:r>
                      <a:r>
                        <a:rPr lang="en-DE" sz="800" kern="100">
                          <a:effectLst/>
                          <a:latin typeface="Sofia Sans" panose="020B0604020202020204" charset="0"/>
                          <a:ea typeface="Aptos" panose="020B0004020202020204" pitchFamily="34" charset="0"/>
                          <a:cs typeface="Times New Roman" panose="02020603050405020304" pitchFamily="18" charset="0"/>
                        </a:rPr>
                        <a:t>Hydropower &lt; PV (Solar) &lt; Wind.</a:t>
                      </a:r>
                    </a:p>
                    <a:p>
                      <a:pPr algn="ctr"/>
                      <a:endParaRPr lang="en-DE" sz="800">
                        <a:latin typeface="Sofia Sans" panose="020B0604020202020204" charset="0"/>
                      </a:endParaRPr>
                    </a:p>
                  </a:txBody>
                  <a:tcPr anchor="ctr"/>
                </a:tc>
                <a:extLst>
                  <a:ext uri="{0D108BD9-81ED-4DB2-BD59-A6C34878D82A}">
                    <a16:rowId xmlns:a16="http://schemas.microsoft.com/office/drawing/2014/main" val="444834419"/>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latin typeface="Sofia Sans" panose="020B0604020202020204" charset="0"/>
                          <a:ea typeface="Aptos" panose="020B0004020202020204" pitchFamily="34" charset="0"/>
                          <a:cs typeface="Times New Roman" panose="02020603050405020304" pitchFamily="18" charset="0"/>
                        </a:rPr>
                        <a:t>9 </a:t>
                      </a:r>
                      <a:r>
                        <a:rPr lang="en-DE" sz="800" kern="100">
                          <a:effectLst/>
                          <a:latin typeface="Sofia Sans" panose="020B0604020202020204" charset="0"/>
                          <a:ea typeface="Aptos" panose="020B0004020202020204" pitchFamily="34" charset="0"/>
                          <a:cs typeface="Times New Roman" panose="02020603050405020304" pitchFamily="18" charset="0"/>
                        </a:rPr>
                        <a:t>Solar energy is predictable based on the time of day and weather, while wind is highly variable</a:t>
                      </a:r>
                    </a:p>
                    <a:p>
                      <a:pPr algn="ct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latin typeface="Sofia Sans" panose="020B0604020202020204" charset="0"/>
                          <a:ea typeface="Aptos" panose="020B0004020202020204" pitchFamily="34" charset="0"/>
                          <a:cs typeface="Times New Roman" panose="02020603050405020304" pitchFamily="18" charset="0"/>
                        </a:rPr>
                        <a:t>2 </a:t>
                      </a:r>
                      <a:r>
                        <a:rPr lang="en-DE" sz="800" kern="100">
                          <a:effectLst/>
                          <a:latin typeface="Sofia Sans" panose="020B0604020202020204" charset="0"/>
                          <a:ea typeface="Aptos" panose="020B0004020202020204" pitchFamily="34" charset="0"/>
                          <a:cs typeface="Times New Roman" panose="02020603050405020304" pitchFamily="18" charset="0"/>
                        </a:rPr>
                        <a:t>Solar energy is only generated during the day and stops at night, making it unreliable for 24/7 power</a:t>
                      </a:r>
                    </a:p>
                    <a:p>
                      <a:pPr algn="ctr"/>
                      <a:endParaRPr lang="en-DE" sz="800">
                        <a:latin typeface="Sofia Sans" panose="020B0604020202020204" charset="0"/>
                      </a:endParaRPr>
                    </a:p>
                  </a:txBody>
                  <a:tcPr anchor="ctr"/>
                </a:tc>
                <a:tc>
                  <a:txBody>
                    <a:bodyPr/>
                    <a:lstStyle/>
                    <a:p>
                      <a:pPr algn="ctr"/>
                      <a:r>
                        <a:rPr lang="de-DE" sz="800" kern="100">
                          <a:highlight>
                            <a:srgbClr val="FFFFFF"/>
                          </a:highlight>
                          <a:latin typeface="Sofia Sans" panose="020B0604020202020204" charset="0"/>
                          <a:cs typeface="Times New Roman" panose="02020603050405020304" pitchFamily="18" charset="0"/>
                        </a:rPr>
                        <a:t>13 </a:t>
                      </a:r>
                      <a:r>
                        <a:rPr lang="en-DE" sz="800" kern="100">
                          <a:highlight>
                            <a:srgbClr val="FFFFFF"/>
                          </a:highlight>
                          <a:latin typeface="Sofia Sans" panose="020B0604020202020204" charset="0"/>
                          <a:cs typeface="Times New Roman" panose="02020603050405020304" pitchFamily="18" charset="0"/>
                        </a:rPr>
                        <a:t>Battery storage can store excess energy for use during low production times, helping solar and wind support baseload</a:t>
                      </a:r>
                      <a:endParaRPr lang="en-DE" sz="800">
                        <a:highlight>
                          <a:srgbClr val="FFFFFF"/>
                        </a:highlight>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highlight>
                            <a:srgbClr val="FFFFFF"/>
                          </a:highlight>
                          <a:latin typeface="Sofia Sans" panose="020B0604020202020204" charset="0"/>
                          <a:ea typeface="Aptos" panose="020B0004020202020204" pitchFamily="34" charset="0"/>
                          <a:cs typeface="Times New Roman" panose="02020603050405020304" pitchFamily="18" charset="0"/>
                        </a:rPr>
                        <a:t>3 </a:t>
                      </a:r>
                      <a:r>
                        <a:rPr lang="en-DE" sz="800" kern="100">
                          <a:effectLst/>
                          <a:highlight>
                            <a:srgbClr val="FFFFFF"/>
                          </a:highlight>
                          <a:latin typeface="Sofia Sans" panose="020B0604020202020204" charset="0"/>
                          <a:ea typeface="Aptos" panose="020B0004020202020204" pitchFamily="34" charset="0"/>
                          <a:cs typeface="Times New Roman" panose="02020603050405020304" pitchFamily="18" charset="0"/>
                        </a:rPr>
                        <a:t>Hydropower uses stored water in reservoirs to generate electricity continuously</a:t>
                      </a:r>
                    </a:p>
                    <a:p>
                      <a:pPr algn="ctr"/>
                      <a:endParaRPr lang="en-DE" sz="800">
                        <a:latin typeface="Sofia Sans" panose="020B0604020202020204" charset="0"/>
                      </a:endParaRPr>
                    </a:p>
                  </a:txBody>
                  <a:tcPr anchor="ctr"/>
                </a:tc>
                <a:extLst>
                  <a:ext uri="{0D108BD9-81ED-4DB2-BD59-A6C34878D82A}">
                    <a16:rowId xmlns:a16="http://schemas.microsoft.com/office/drawing/2014/main" val="3987359017"/>
                  </a:ext>
                </a:extLst>
              </a:tr>
              <a:tr h="370840">
                <a:tc>
                  <a:txBody>
                    <a:bodyPr/>
                    <a:lstStyle/>
                    <a:p>
                      <a:pPr algn="ctr"/>
                      <a:r>
                        <a:rPr lang="en-US" sz="800">
                          <a:latin typeface="Sofia Sans" panose="020B0604020202020204" charset="0"/>
                        </a:rPr>
                        <a:t>15 Baseload energy provides a constant supply, while additional resources meet peak demand periods</a:t>
                      </a: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a:latin typeface="Sofia Sans" panose="020B0604020202020204" charset="0"/>
                        </a:rPr>
                        <a:t>15 </a:t>
                      </a:r>
                      <a:r>
                        <a:rPr lang="en-US" sz="800">
                          <a:latin typeface="Sofia Sans" panose="020B0604020202020204" charset="0"/>
                        </a:rPr>
                        <a:t>Diversification reduces reliance on a single source and mitigates risks from variability or outages</a:t>
                      </a:r>
                    </a:p>
                    <a:p>
                      <a:pPr algn="ct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800" kern="100">
                          <a:effectLst/>
                          <a:latin typeface="Sofia Sans" panose="020B0604020202020204" charset="0"/>
                          <a:ea typeface="Aptos" panose="020B0004020202020204" pitchFamily="34" charset="0"/>
                          <a:cs typeface="Times New Roman" panose="02020603050405020304" pitchFamily="18" charset="0"/>
                        </a:rPr>
                        <a:t>5 </a:t>
                      </a:r>
                      <a:r>
                        <a:rPr lang="en-DE" sz="800" kern="100">
                          <a:effectLst/>
                          <a:latin typeface="Sofia Sans" panose="020B0604020202020204" charset="0"/>
                          <a:ea typeface="Aptos" panose="020B0004020202020204" pitchFamily="34" charset="0"/>
                          <a:cs typeface="Times New Roman" panose="02020603050405020304" pitchFamily="18" charset="0"/>
                        </a:rPr>
                        <a:t>The grid can become</a:t>
                      </a:r>
                      <a:r>
                        <a:rPr lang="de-DE" sz="800" kern="100">
                          <a:effectLst/>
                          <a:latin typeface="Sofia Sans" panose="020B0604020202020204" charset="0"/>
                          <a:ea typeface="Aptos" panose="020B0004020202020204" pitchFamily="34" charset="0"/>
                          <a:cs typeface="Times New Roman" panose="02020603050405020304" pitchFamily="18" charset="0"/>
                        </a:rPr>
                        <a:t>s</a:t>
                      </a:r>
                      <a:r>
                        <a:rPr lang="en-DE" sz="800" kern="100">
                          <a:effectLst/>
                          <a:latin typeface="Sofia Sans" panose="020B0604020202020204" charset="0"/>
                          <a:ea typeface="Aptos" panose="020B0004020202020204" pitchFamily="34" charset="0"/>
                          <a:cs typeface="Times New Roman" panose="02020603050405020304" pitchFamily="18" charset="0"/>
                        </a:rPr>
                        <a:t> unstable, leading to blackouts or system failures</a:t>
                      </a:r>
                    </a:p>
                    <a:p>
                      <a:pPr algn="ctr"/>
                      <a:endParaRPr lang="en-DE" sz="800">
                        <a:latin typeface="Sofia Sans" panose="020B060402020202020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a:latin typeface="Sofia Sans" panose="020B0604020202020204" charset="0"/>
                        </a:rPr>
                        <a:t>16 Renewables have lower operational costs and reduce dependency on imported fossil fuels, saving money over time</a:t>
                      </a:r>
                    </a:p>
                    <a:p>
                      <a:pPr algn="ctr"/>
                      <a:endParaRPr lang="en-DE" sz="800">
                        <a:latin typeface="Sofia Sans" panose="020B0604020202020204" charset="0"/>
                      </a:endParaRPr>
                    </a:p>
                  </a:txBody>
                  <a:tcPr anchor="ctr"/>
                </a:tc>
                <a:extLst>
                  <a:ext uri="{0D108BD9-81ED-4DB2-BD59-A6C34878D82A}">
                    <a16:rowId xmlns:a16="http://schemas.microsoft.com/office/drawing/2014/main" val="1136920048"/>
                  </a:ext>
                </a:extLst>
              </a:tr>
            </a:tbl>
          </a:graphicData>
        </a:graphic>
      </p:graphicFrame>
      <p:pic>
        <p:nvPicPr>
          <p:cNvPr id="2" name="Grafik 1" descr="Ein Bild, das Schwarz, Dunkelheit enthält.&#10;&#10;KI-generierte Inhalte können fehlerhaft sein.">
            <a:extLst>
              <a:ext uri="{FF2B5EF4-FFF2-40B4-BE49-F238E27FC236}">
                <a16:creationId xmlns:a16="http://schemas.microsoft.com/office/drawing/2014/main" id="{AAB3F3D7-82FE-903C-F6CE-A1EACEB50D45}"/>
              </a:ext>
            </a:extLst>
          </p:cNvPr>
          <p:cNvPicPr>
            <a:picLocks noChangeAspect="1"/>
          </p:cNvPicPr>
          <p:nvPr/>
        </p:nvPicPr>
        <p:blipFill>
          <a:blip r:embed="rId4"/>
          <a:stretch>
            <a:fillRect/>
          </a:stretch>
        </p:blipFill>
        <p:spPr>
          <a:xfrm>
            <a:off x="5768338" y="3349095"/>
            <a:ext cx="842650" cy="767228"/>
          </a:xfrm>
          <a:prstGeom prst="rect">
            <a:avLst/>
          </a:prstGeom>
        </p:spPr>
      </p:pic>
    </p:spTree>
    <p:extLst>
      <p:ext uri="{BB962C8B-B14F-4D97-AF65-F5344CB8AC3E}">
        <p14:creationId xmlns:p14="http://schemas.microsoft.com/office/powerpoint/2010/main" val="39393547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0C8C6-95CA-3BF1-DD7C-6A9F4F5DEFB5}"/>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A28DD171-A551-E447-7D99-C8D712DEAB84}"/>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69</a:t>
            </a:fld>
            <a:endParaRPr lang="de-DE"/>
          </a:p>
        </p:txBody>
      </p:sp>
      <p:sp>
        <p:nvSpPr>
          <p:cNvPr id="2" name="Textfeld 11">
            <a:extLst>
              <a:ext uri="{FF2B5EF4-FFF2-40B4-BE49-F238E27FC236}">
                <a16:creationId xmlns:a16="http://schemas.microsoft.com/office/drawing/2014/main" id="{5EAFADD6-F0E1-479D-AB64-BCF03F54751B}"/>
              </a:ext>
            </a:extLst>
          </p:cNvPr>
          <p:cNvSpPr txBox="1"/>
          <p:nvPr/>
        </p:nvSpPr>
        <p:spPr>
          <a:xfrm>
            <a:off x="983774" y="1277938"/>
            <a:ext cx="5919009" cy="797306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ich renewable energy source is most commonly used to meet baseload energy needs?</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Hydropower is the most reliable renewable energy source for meeting baseload need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y does solar energy struggle to provide baseload power?</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Solar energy is only generated during the day and stops at night, making it unreliable for 24/7 power.</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How does hydropower maintain a consistent energy suppl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Hydropower uses stored water in reservoirs to generate electricity continuously.</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role does baseload energy play during periods of low electricity demand?</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It ensures that essential services, like refrigeration and streetlights, continue running.</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happens to the electricity grid if baseload requirements aren’t met?</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The grid can become unstable, leading to blackouts or system failure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is one challenge of using solar and wind for baseload without storage?</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Their output depends on weather and time, making them unreliable without backup storage.</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y is integrating different renewables important for maintaining baseload?</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Combining sources like wind, solar, and hydro ensures a more stable and consistent energy supply.</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How would you rank hydro, PV, and wind energy in terms of fluctuations, from least to most variable?</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Hydropower &lt; PV (Solar) &lt; Wind.</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y does solar energy fluctuate less than wind energ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Solar energy is predictable based on the time of day and weather, while wind is highly variable.</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technology helps renewable energy sources store surplus energy for use during periods of low production?</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Battery storage helps manage supply.</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is the definition of baseload energ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The minimum power the grid always need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ich renewable energy source is more suitable than solar for providing baseload energ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Hydropower is better than solar for thi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technology can help solar and wind energy contribute to baseload suppl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Battery storage can store excess energy for use during low production times, helping solar and wind support baseload.</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is the relationship between baseload energy and peak demand periods?</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Baseload energy provides a constant supply, while additional resources meet peak demand period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y is it important to diversify renewable energy sources for baseload power?</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Diversification reduces reliance on a single source and mitigates risks from variability or outages.</a:t>
            </a:r>
          </a:p>
          <a:p>
            <a:pPr marL="228600" indent="-228600">
              <a:buAutoNum type="arabicPeriod"/>
            </a:pPr>
            <a:r>
              <a:rPr lang="en-US" sz="1050" b="1">
                <a:solidFill>
                  <a:srgbClr val="FF0000"/>
                </a:solidFill>
                <a:latin typeface="Sofia Sans" panose="020B0604020202020204" charset="0"/>
              </a:rPr>
              <a:t>Question:</a:t>
            </a:r>
            <a:r>
              <a:rPr lang="en-US" sz="1050">
                <a:solidFill>
                  <a:srgbClr val="FF0000"/>
                </a:solidFill>
                <a:latin typeface="Sofia Sans" panose="020B0604020202020204" charset="0"/>
              </a:rPr>
              <a:t> What is the economic advantage of using renewables for baseload energy?</a:t>
            </a:r>
            <a:br>
              <a:rPr lang="en-US" sz="1050">
                <a:solidFill>
                  <a:srgbClr val="FF0000"/>
                </a:solidFill>
                <a:latin typeface="Sofia Sans" panose="020B0604020202020204" charset="0"/>
              </a:rPr>
            </a:br>
            <a:r>
              <a:rPr lang="en-US" sz="1050" b="1">
                <a:solidFill>
                  <a:srgbClr val="FF0000"/>
                </a:solidFill>
                <a:latin typeface="Sofia Sans" panose="020B0604020202020204" charset="0"/>
              </a:rPr>
              <a:t>Answer:</a:t>
            </a:r>
            <a:r>
              <a:rPr lang="en-US" sz="1050">
                <a:solidFill>
                  <a:srgbClr val="FF0000"/>
                </a:solidFill>
                <a:latin typeface="Sofia Sans" panose="020B0604020202020204" charset="0"/>
              </a:rPr>
              <a:t> Renewables have lower operational costs and reduce dependency on imported fossil fuels, saving money over time</a:t>
            </a:r>
          </a:p>
          <a:p>
            <a:endParaRPr lang="en-US" sz="900">
              <a:solidFill>
                <a:srgbClr val="FF0000"/>
              </a:solidFill>
              <a:latin typeface="Sofia Sans" panose="020B0604020202020204" charset="0"/>
              <a:ea typeface="Times New Roman" panose="02020603050405020304" pitchFamily="18" charset="0"/>
            </a:endParaRPr>
          </a:p>
        </p:txBody>
      </p:sp>
    </p:spTree>
    <p:extLst>
      <p:ext uri="{BB962C8B-B14F-4D97-AF65-F5344CB8AC3E}">
        <p14:creationId xmlns:p14="http://schemas.microsoft.com/office/powerpoint/2010/main" val="3459382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DC95FD5-9D2A-515F-E49B-A46670706E83}"/>
              </a:ext>
            </a:extLst>
          </p:cNvPr>
          <p:cNvSpPr>
            <a:spLocks noGrp="1"/>
          </p:cNvSpPr>
          <p:nvPr>
            <p:ph type="sldNum" sz="quarter" idx="10"/>
          </p:nvPr>
        </p:nvSpPr>
        <p:spPr/>
        <p:txBody>
          <a:bodyPr/>
          <a:lstStyle/>
          <a:p>
            <a:fld id="{DF7F771E-9578-4C04-B869-01AF4C35C90C}" type="slidenum">
              <a:rPr lang="de-DE" smtClean="0"/>
              <a:t>7</a:t>
            </a:fld>
            <a:endParaRPr lang="de-DE"/>
          </a:p>
        </p:txBody>
      </p:sp>
      <p:sp>
        <p:nvSpPr>
          <p:cNvPr id="5" name="Titel 1">
            <a:extLst>
              <a:ext uri="{FF2B5EF4-FFF2-40B4-BE49-F238E27FC236}">
                <a16:creationId xmlns:a16="http://schemas.microsoft.com/office/drawing/2014/main" id="{00BF61E3-667D-A868-F8B9-88B5DD8C5722}"/>
              </a:ext>
            </a:extLst>
          </p:cNvPr>
          <p:cNvSpPr txBox="1">
            <a:spLocks/>
          </p:cNvSpPr>
          <p:nvPr/>
        </p:nvSpPr>
        <p:spPr>
          <a:xfrm>
            <a:off x="719138" y="1266899"/>
            <a:ext cx="6245287" cy="37426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err="1"/>
              <a:t>Definitions</a:t>
            </a:r>
            <a:endParaRPr lang="de-DE"/>
          </a:p>
        </p:txBody>
      </p:sp>
      <p:sp>
        <p:nvSpPr>
          <p:cNvPr id="6" name="Untertitel 3">
            <a:extLst>
              <a:ext uri="{FF2B5EF4-FFF2-40B4-BE49-F238E27FC236}">
                <a16:creationId xmlns:a16="http://schemas.microsoft.com/office/drawing/2014/main" id="{6D948975-7DED-F9AE-D7E2-F1D1967F6784}"/>
              </a:ext>
            </a:extLst>
          </p:cNvPr>
          <p:cNvSpPr txBox="1">
            <a:spLocks/>
          </p:cNvSpPr>
          <p:nvPr/>
        </p:nvSpPr>
        <p:spPr>
          <a:xfrm>
            <a:off x="719138" y="1993567"/>
            <a:ext cx="6245287" cy="807236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spcAft>
                <a:spcPts val="600"/>
              </a:spcAft>
            </a:pPr>
            <a:r>
              <a:rPr lang="en-US" sz="1200" b="1">
                <a:solidFill>
                  <a:schemeClr val="tx1"/>
                </a:solidFill>
              </a:rPr>
              <a:t>Energy: </a:t>
            </a:r>
            <a:r>
              <a:rPr lang="en-US" sz="1200">
                <a:solidFill>
                  <a:schemeClr val="tx1"/>
                </a:solidFill>
              </a:rPr>
              <a:t>The capacity to do work, typically harnessed from natural resources such as water, wind, or sunlight, and converted into electricity to power various human activities.</a:t>
            </a:r>
          </a:p>
          <a:p>
            <a:pPr marL="0" indent="0">
              <a:lnSpc>
                <a:spcPct val="114999"/>
              </a:lnSpc>
              <a:spcAft>
                <a:spcPts val="600"/>
              </a:spcAft>
            </a:pPr>
            <a:r>
              <a:rPr lang="en-DE" sz="1200" b="1">
                <a:solidFill>
                  <a:schemeClr val="tx1"/>
                </a:solidFill>
              </a:rPr>
              <a:t>Potential Energy: </a:t>
            </a:r>
            <a:r>
              <a:rPr lang="en-DE" sz="1200">
                <a:solidFill>
                  <a:schemeClr val="tx1"/>
                </a:solidFill>
              </a:rPr>
              <a:t>Stored energy due to an object's position, such as water held behind a dam.</a:t>
            </a:r>
          </a:p>
          <a:p>
            <a:pPr marL="0" indent="0">
              <a:lnSpc>
                <a:spcPct val="114999"/>
              </a:lnSpc>
              <a:spcAft>
                <a:spcPts val="600"/>
              </a:spcAft>
            </a:pPr>
            <a:r>
              <a:rPr lang="en-DE" sz="1200" b="1">
                <a:solidFill>
                  <a:schemeClr val="tx1"/>
                </a:solidFill>
              </a:rPr>
              <a:t>Kinetic Energy: </a:t>
            </a:r>
            <a:r>
              <a:rPr lang="en-DE" sz="1200">
                <a:solidFill>
                  <a:schemeClr val="tx1"/>
                </a:solidFill>
              </a:rPr>
              <a:t>Energy of motion, like flowing water in a river.</a:t>
            </a:r>
          </a:p>
          <a:p>
            <a:pPr marL="0" indent="0">
              <a:lnSpc>
                <a:spcPct val="114999"/>
              </a:lnSpc>
              <a:spcAft>
                <a:spcPts val="600"/>
              </a:spcAft>
            </a:pPr>
            <a:r>
              <a:rPr lang="en-DE" sz="1200" b="1">
                <a:solidFill>
                  <a:schemeClr val="tx1"/>
                </a:solidFill>
              </a:rPr>
              <a:t>Head Height: </a:t>
            </a:r>
            <a:r>
              <a:rPr lang="en-DE" sz="1200">
                <a:solidFill>
                  <a:schemeClr val="tx1"/>
                </a:solidFill>
              </a:rPr>
              <a:t>The vertical distance water falls, influencing energy generation in a dam.</a:t>
            </a:r>
          </a:p>
          <a:p>
            <a:pPr marL="0" indent="0">
              <a:lnSpc>
                <a:spcPct val="114999"/>
              </a:lnSpc>
              <a:spcAft>
                <a:spcPts val="600"/>
              </a:spcAft>
            </a:pPr>
            <a:r>
              <a:rPr lang="en-DE" sz="1200" b="1">
                <a:solidFill>
                  <a:schemeClr val="tx1"/>
                </a:solidFill>
              </a:rPr>
              <a:t>Base Load: </a:t>
            </a:r>
            <a:r>
              <a:rPr lang="en-DE" sz="1200">
                <a:solidFill>
                  <a:schemeClr val="tx1"/>
                </a:solidFill>
              </a:rPr>
              <a:t>The minimum constant level of electricity demand over time.</a:t>
            </a:r>
          </a:p>
          <a:p>
            <a:pPr marL="0" indent="0">
              <a:lnSpc>
                <a:spcPct val="114999"/>
              </a:lnSpc>
              <a:spcAft>
                <a:spcPts val="600"/>
              </a:spcAft>
            </a:pPr>
            <a:r>
              <a:rPr lang="en-DE" sz="1200" b="1">
                <a:solidFill>
                  <a:schemeClr val="tx1"/>
                </a:solidFill>
              </a:rPr>
              <a:t>Peak Load: </a:t>
            </a:r>
            <a:r>
              <a:rPr lang="en-DE" sz="1200">
                <a:solidFill>
                  <a:schemeClr val="tx1"/>
                </a:solidFill>
              </a:rPr>
              <a:t>The highest electricity demand during a specific period.</a:t>
            </a:r>
          </a:p>
          <a:p>
            <a:pPr marL="0" indent="0">
              <a:lnSpc>
                <a:spcPct val="114999"/>
              </a:lnSpc>
              <a:spcAft>
                <a:spcPts val="600"/>
              </a:spcAft>
            </a:pPr>
            <a:r>
              <a:rPr lang="en-DE" sz="1200" b="1">
                <a:solidFill>
                  <a:schemeClr val="tx1"/>
                </a:solidFill>
              </a:rPr>
              <a:t>Dam: </a:t>
            </a:r>
            <a:r>
              <a:rPr lang="en-DE" sz="1200">
                <a:solidFill>
                  <a:schemeClr val="tx1"/>
                </a:solidFill>
              </a:rPr>
              <a:t>A barrier built to control or store water for various purposes, such as energy generation.</a:t>
            </a:r>
          </a:p>
          <a:p>
            <a:pPr marL="0" indent="0">
              <a:lnSpc>
                <a:spcPct val="114999"/>
              </a:lnSpc>
              <a:spcAft>
                <a:spcPts val="600"/>
              </a:spcAft>
            </a:pPr>
            <a:r>
              <a:rPr lang="en-DE" sz="1200" b="1">
                <a:solidFill>
                  <a:schemeClr val="tx1"/>
                </a:solidFill>
              </a:rPr>
              <a:t>Reservoir: </a:t>
            </a:r>
            <a:r>
              <a:rPr lang="en-DE" sz="1200">
                <a:solidFill>
                  <a:schemeClr val="tx1"/>
                </a:solidFill>
              </a:rPr>
              <a:t>A large artificial lake used to store water for different uses.</a:t>
            </a:r>
          </a:p>
          <a:p>
            <a:pPr marL="0" indent="0">
              <a:lnSpc>
                <a:spcPct val="114999"/>
              </a:lnSpc>
              <a:spcAft>
                <a:spcPts val="600"/>
              </a:spcAft>
            </a:pPr>
            <a:r>
              <a:rPr lang="en-DE" sz="1200" b="1">
                <a:solidFill>
                  <a:schemeClr val="tx1"/>
                </a:solidFill>
              </a:rPr>
              <a:t>Evaporation: </a:t>
            </a:r>
            <a:r>
              <a:rPr lang="en-DE" sz="1200">
                <a:solidFill>
                  <a:schemeClr val="tx1"/>
                </a:solidFill>
              </a:rPr>
              <a:t>The process where water turns into vapor due to heat.</a:t>
            </a:r>
          </a:p>
          <a:p>
            <a:pPr marL="0" indent="0">
              <a:lnSpc>
                <a:spcPct val="114999"/>
              </a:lnSpc>
              <a:spcAft>
                <a:spcPts val="600"/>
              </a:spcAft>
            </a:pPr>
            <a:r>
              <a:rPr lang="en-DE" sz="1200" b="1">
                <a:solidFill>
                  <a:schemeClr val="tx1"/>
                </a:solidFill>
              </a:rPr>
              <a:t>Condensation: </a:t>
            </a:r>
            <a:r>
              <a:rPr lang="en-DE" sz="1200">
                <a:solidFill>
                  <a:schemeClr val="tx1"/>
                </a:solidFill>
              </a:rPr>
              <a:t>The process where water vapor cools and turns back into liquid.</a:t>
            </a:r>
          </a:p>
          <a:p>
            <a:pPr marL="0" indent="0">
              <a:lnSpc>
                <a:spcPct val="114999"/>
              </a:lnSpc>
              <a:spcAft>
                <a:spcPts val="600"/>
              </a:spcAft>
            </a:pPr>
            <a:r>
              <a:rPr lang="en-DE" sz="1200" b="1">
                <a:solidFill>
                  <a:schemeClr val="tx1"/>
                </a:solidFill>
              </a:rPr>
              <a:t>Water Cycle: </a:t>
            </a:r>
            <a:r>
              <a:rPr lang="en-DE" sz="1200">
                <a:solidFill>
                  <a:schemeClr val="tx1"/>
                </a:solidFill>
              </a:rPr>
              <a:t>The continuous movement of water between the Earth's surface and atmosphere.</a:t>
            </a:r>
          </a:p>
          <a:p>
            <a:pPr marL="0" indent="0">
              <a:lnSpc>
                <a:spcPct val="114999"/>
              </a:lnSpc>
              <a:spcAft>
                <a:spcPts val="600"/>
              </a:spcAft>
            </a:pPr>
            <a:r>
              <a:rPr lang="en-DE" sz="1200" b="1">
                <a:solidFill>
                  <a:schemeClr val="tx1"/>
                </a:solidFill>
              </a:rPr>
              <a:t>Catchment Area: </a:t>
            </a:r>
            <a:r>
              <a:rPr lang="en-DE" sz="1200">
                <a:solidFill>
                  <a:schemeClr val="tx1"/>
                </a:solidFill>
              </a:rPr>
              <a:t>The region where water collects and drains into a river, lake, or reservoir.</a:t>
            </a:r>
          </a:p>
          <a:p>
            <a:pPr marL="0" indent="0">
              <a:lnSpc>
                <a:spcPct val="114999"/>
              </a:lnSpc>
              <a:spcAft>
                <a:spcPts val="600"/>
              </a:spcAft>
            </a:pPr>
            <a:r>
              <a:rPr lang="en-DE" sz="1200" b="1">
                <a:solidFill>
                  <a:schemeClr val="tx1"/>
                </a:solidFill>
              </a:rPr>
              <a:t>River Basin: </a:t>
            </a:r>
            <a:r>
              <a:rPr lang="en-DE" sz="1200">
                <a:solidFill>
                  <a:schemeClr val="tx1"/>
                </a:solidFill>
              </a:rPr>
              <a:t>A geographical area drained by a river and its tributaries.</a:t>
            </a:r>
          </a:p>
          <a:p>
            <a:pPr marL="0" indent="0">
              <a:lnSpc>
                <a:spcPct val="114999"/>
              </a:lnSpc>
              <a:spcAft>
                <a:spcPts val="600"/>
              </a:spcAft>
            </a:pPr>
            <a:r>
              <a:rPr lang="en-DE" sz="1200" b="1">
                <a:solidFill>
                  <a:schemeClr val="tx1"/>
                </a:solidFill>
              </a:rPr>
              <a:t>Water Silting: </a:t>
            </a:r>
            <a:r>
              <a:rPr lang="en-DE" sz="1200">
                <a:solidFill>
                  <a:schemeClr val="tx1"/>
                </a:solidFill>
              </a:rPr>
              <a:t>The accumulation of sediment in water bodies, reducing storage capacity</a:t>
            </a:r>
            <a:r>
              <a:rPr lang="de-DE" sz="1200">
                <a:solidFill>
                  <a:schemeClr val="tx1"/>
                </a:solidFill>
              </a:rPr>
              <a:t>.</a:t>
            </a:r>
            <a:endParaRPr lang="es-ES" sz="1200">
              <a:solidFill>
                <a:schemeClr val="tx1"/>
              </a:solidFill>
            </a:endParaRPr>
          </a:p>
          <a:p>
            <a:pPr marL="0" indent="0">
              <a:lnSpc>
                <a:spcPct val="114999"/>
              </a:lnSpc>
              <a:spcAft>
                <a:spcPts val="600"/>
              </a:spcAft>
            </a:pPr>
            <a:r>
              <a:rPr lang="es-CO" sz="1200" b="1">
                <a:solidFill>
                  <a:schemeClr val="tx1"/>
                </a:solidFill>
              </a:rPr>
              <a:t>Turbine</a:t>
            </a:r>
            <a:r>
              <a:rPr lang="en-DE" sz="1200" b="1">
                <a:solidFill>
                  <a:schemeClr val="tx1"/>
                </a:solidFill>
              </a:rPr>
              <a:t>: </a:t>
            </a:r>
            <a:r>
              <a:rPr lang="en-US" sz="1200">
                <a:solidFill>
                  <a:schemeClr val="tx1"/>
                </a:solidFill>
              </a:rPr>
              <a:t>A device that converts the kinetic energy of a fluid (water, steam, gas, or air) into mechanical energy, typically used to generate electricity.</a:t>
            </a:r>
          </a:p>
          <a:p>
            <a:pPr marL="0" indent="0">
              <a:lnSpc>
                <a:spcPct val="114999"/>
              </a:lnSpc>
              <a:spcAft>
                <a:spcPts val="600"/>
              </a:spcAft>
            </a:pPr>
            <a:r>
              <a:rPr lang="en-DE" sz="1200" b="1">
                <a:solidFill>
                  <a:schemeClr val="tx1"/>
                </a:solidFill>
              </a:rPr>
              <a:t>River Basin: </a:t>
            </a:r>
            <a:r>
              <a:rPr lang="en-DE" sz="1200">
                <a:solidFill>
                  <a:schemeClr val="tx1"/>
                </a:solidFill>
              </a:rPr>
              <a:t>A geographical area drained by a river and its tributaries.</a:t>
            </a:r>
          </a:p>
          <a:p>
            <a:pPr marL="0" indent="0">
              <a:lnSpc>
                <a:spcPct val="114999"/>
              </a:lnSpc>
              <a:spcAft>
                <a:spcPts val="600"/>
              </a:spcAft>
            </a:pPr>
            <a:r>
              <a:rPr lang="en-US" sz="1200" b="1">
                <a:solidFill>
                  <a:schemeClr val="tx1"/>
                </a:solidFill>
              </a:rPr>
              <a:t>RES (Renewable Energy Sources): </a:t>
            </a:r>
            <a:r>
              <a:rPr lang="en-US" sz="1200">
                <a:solidFill>
                  <a:schemeClr val="tx1"/>
                </a:solidFill>
              </a:rPr>
              <a:t>Natural and sustainable energy sources such as solar, wind, and hydro that regenerate naturally and have minimal environmental impact.</a:t>
            </a:r>
          </a:p>
          <a:p>
            <a:pPr marL="0" indent="0">
              <a:lnSpc>
                <a:spcPct val="114999"/>
              </a:lnSpc>
              <a:spcAft>
                <a:spcPts val="600"/>
              </a:spcAft>
            </a:pPr>
            <a:r>
              <a:rPr lang="en-US" sz="1200" b="1">
                <a:solidFill>
                  <a:schemeClr val="tx1"/>
                </a:solidFill>
              </a:rPr>
              <a:t>Solar Energy: </a:t>
            </a:r>
            <a:r>
              <a:rPr lang="en-US" sz="1200">
                <a:solidFill>
                  <a:schemeClr val="tx1"/>
                </a:solidFill>
              </a:rPr>
              <a:t>Energy generated by capturing sunlight and converting it into electricity using photovoltaic (PV) cells or thermal systems.</a:t>
            </a:r>
          </a:p>
          <a:p>
            <a:pPr marL="0" indent="0">
              <a:lnSpc>
                <a:spcPct val="114999"/>
              </a:lnSpc>
              <a:spcAft>
                <a:spcPts val="600"/>
              </a:spcAft>
            </a:pPr>
            <a:r>
              <a:rPr lang="en-US" sz="1200" b="1">
                <a:solidFill>
                  <a:schemeClr val="tx1"/>
                </a:solidFill>
              </a:rPr>
              <a:t>Wind Energy: </a:t>
            </a:r>
            <a:r>
              <a:rPr lang="en-US" sz="1200">
                <a:solidFill>
                  <a:schemeClr val="tx1"/>
                </a:solidFill>
              </a:rPr>
              <a:t>Energy harnessed from the movement of wind using turbines to generate electricity.</a:t>
            </a:r>
          </a:p>
          <a:p>
            <a:pPr marL="0" indent="0">
              <a:lnSpc>
                <a:spcPct val="114999"/>
              </a:lnSpc>
              <a:spcAft>
                <a:spcPts val="600"/>
              </a:spcAft>
            </a:pPr>
            <a:r>
              <a:rPr lang="en-US" sz="1200" b="1">
                <a:solidFill>
                  <a:schemeClr val="tx1"/>
                </a:solidFill>
              </a:rPr>
              <a:t>Solar Energy: </a:t>
            </a:r>
            <a:r>
              <a:rPr lang="en-US" sz="1200">
                <a:solidFill>
                  <a:schemeClr val="tx1"/>
                </a:solidFill>
              </a:rPr>
              <a:t>Energy generated by capturing sunlight and converting it into electricity using photovoltaic (PV) cells or thermal systems.</a:t>
            </a:r>
            <a:endParaRPr lang="de-DE" sz="1200">
              <a:solidFill>
                <a:schemeClr val="tx1"/>
              </a:solidFill>
            </a:endParaRPr>
          </a:p>
          <a:p>
            <a:pPr>
              <a:buClr>
                <a:schemeClr val="accent5"/>
              </a:buClr>
              <a:buSzPct val="121000"/>
              <a:buFont typeface="Arial" panose="020B0604020202020204" pitchFamily="34" charset="0"/>
              <a:buChar char="•"/>
            </a:pPr>
            <a:endParaRPr lang="de-DE" sz="1150"/>
          </a:p>
          <a:p>
            <a:pPr>
              <a:buClr>
                <a:schemeClr val="accent5"/>
              </a:buClr>
              <a:buSzPct val="121000"/>
              <a:buFont typeface="Arial" panose="020B0604020202020204" pitchFamily="34" charset="0"/>
              <a:buChar char="•"/>
            </a:pPr>
            <a:endParaRPr lang="en-DE" sz="1150"/>
          </a:p>
          <a:p>
            <a:pPr>
              <a:buClr>
                <a:schemeClr val="accent5"/>
              </a:buClr>
              <a:buSzPct val="121000"/>
              <a:buFont typeface="Arial" panose="020B0604020202020204" pitchFamily="34" charset="0"/>
              <a:buChar char="•"/>
            </a:pPr>
            <a:endParaRPr lang="en-DE" sz="1150"/>
          </a:p>
          <a:p>
            <a:endParaRPr lang="en-US" sz="1150"/>
          </a:p>
        </p:txBody>
      </p:sp>
    </p:spTree>
    <p:extLst>
      <p:ext uri="{BB962C8B-B14F-4D97-AF65-F5344CB8AC3E}">
        <p14:creationId xmlns:p14="http://schemas.microsoft.com/office/powerpoint/2010/main" val="411873540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A4DAD92-66CD-0314-B9DB-8E31A68A86A7}"/>
              </a:ext>
            </a:extLst>
          </p:cNvPr>
          <p:cNvSpPr>
            <a:spLocks noGrp="1"/>
          </p:cNvSpPr>
          <p:nvPr>
            <p:ph type="sldNum" sz="quarter" idx="4"/>
          </p:nvPr>
        </p:nvSpPr>
        <p:spPr/>
        <p:txBody>
          <a:bodyPr/>
          <a:lstStyle/>
          <a:p>
            <a:fld id="{DF7F771E-9578-4C04-B869-01AF4C35C90C}" type="slidenum">
              <a:rPr lang="de-DE" smtClean="0"/>
              <a:t>70</a:t>
            </a:fld>
            <a:endParaRPr lang="de-DE"/>
          </a:p>
        </p:txBody>
      </p:sp>
      <p:sp>
        <p:nvSpPr>
          <p:cNvPr id="6" name="Textfeld 5">
            <a:extLst>
              <a:ext uri="{FF2B5EF4-FFF2-40B4-BE49-F238E27FC236}">
                <a16:creationId xmlns:a16="http://schemas.microsoft.com/office/drawing/2014/main" id="{C24D94FA-C68F-62C0-C12F-89D7FAC20A4A}"/>
              </a:ext>
            </a:extLst>
          </p:cNvPr>
          <p:cNvSpPr txBox="1"/>
          <p:nvPr/>
        </p:nvSpPr>
        <p:spPr>
          <a:xfrm>
            <a:off x="719138" y="7425818"/>
            <a:ext cx="5919009" cy="2031325"/>
          </a:xfrm>
          <a:prstGeom prst="rect">
            <a:avLst/>
          </a:prstGeom>
          <a:noFill/>
        </p:spPr>
        <p:txBody>
          <a:bodyPr wrap="square" lIns="91440" tIns="45720" rIns="91440" bIns="45720" rtlCol="0" anchor="t">
            <a:spAutoFit/>
          </a:bodyPr>
          <a:lstStyle/>
          <a:p>
            <a:r>
              <a:rPr lang="de-DE" sz="1050">
                <a:solidFill>
                  <a:srgbClr val="FF0000"/>
                </a:solidFill>
                <a:latin typeface="Sofia Sans" panose="020B0604020202020204" charset="0"/>
              </a:rPr>
              <a:t>Game </a:t>
            </a:r>
            <a:r>
              <a:rPr lang="de-DE" sz="1050" err="1">
                <a:solidFill>
                  <a:srgbClr val="FF0000"/>
                </a:solidFill>
                <a:latin typeface="Sofia Sans" panose="020B0604020202020204" charset="0"/>
              </a:rPr>
              <a:t>Guidance</a:t>
            </a:r>
            <a:r>
              <a:rPr lang="de-DE" sz="1050">
                <a:solidFill>
                  <a:srgbClr val="FF0000"/>
                </a:solidFill>
                <a:latin typeface="Sofia Sans" panose="020B0604020202020204" charset="0"/>
              </a:rPr>
              <a:t>: </a:t>
            </a:r>
          </a:p>
          <a:p>
            <a:endParaRPr lang="de-DE" sz="1050">
              <a:solidFill>
                <a:srgbClr val="FF0000"/>
              </a:solidFill>
              <a:latin typeface="Sofia Sans" panose="020B0604020202020204" charset="0"/>
            </a:endParaRPr>
          </a:p>
          <a:p>
            <a:pPr marL="228600" indent="-228600">
              <a:buFont typeface="+mj-lt"/>
              <a:buAutoNum type="arabicPeriod"/>
            </a:pPr>
            <a:r>
              <a:rPr lang="en-US" sz="1050" b="1">
                <a:solidFill>
                  <a:srgbClr val="FF0000"/>
                </a:solidFill>
                <a:latin typeface="Sofia Sans" panose="020B0604020202020204" charset="0"/>
              </a:rPr>
              <a:t>Randomly Select Questions</a:t>
            </a:r>
            <a:r>
              <a:rPr lang="en-US" sz="1050">
                <a:solidFill>
                  <a:srgbClr val="FF0000"/>
                </a:solidFill>
                <a:latin typeface="Sofia Sans" panose="020B0604020202020204" charset="0"/>
              </a:rPr>
              <a:t>: Pick questions from the Question Bank, randomly.</a:t>
            </a:r>
          </a:p>
          <a:p>
            <a:pPr marL="228600" indent="-228600">
              <a:buFont typeface="+mj-lt"/>
              <a:buAutoNum type="arabicPeriod"/>
            </a:pPr>
            <a:r>
              <a:rPr lang="en-US" sz="1050" b="1">
                <a:solidFill>
                  <a:srgbClr val="FF0000"/>
                </a:solidFill>
                <a:latin typeface="Sofia Sans" panose="020B0604020202020204" charset="0"/>
              </a:rPr>
              <a:t>Read Each Question Aloud</a:t>
            </a:r>
            <a:r>
              <a:rPr lang="en-US" sz="1050">
                <a:solidFill>
                  <a:srgbClr val="FF0000"/>
                </a:solidFill>
                <a:latin typeface="Sofia Sans" panose="020B0604020202020204" charset="0"/>
              </a:rPr>
              <a:t>: Read the chosen question </a:t>
            </a:r>
            <a:r>
              <a:rPr lang="en-US" sz="1050" b="1">
                <a:solidFill>
                  <a:srgbClr val="FF0000"/>
                </a:solidFill>
                <a:latin typeface="Sofia Sans" panose="020B0604020202020204" charset="0"/>
              </a:rPr>
              <a:t>three times</a:t>
            </a:r>
            <a:r>
              <a:rPr lang="en-US" sz="1050">
                <a:solidFill>
                  <a:srgbClr val="FF0000"/>
                </a:solidFill>
                <a:latin typeface="Sofia Sans" panose="020B0604020202020204" charset="0"/>
              </a:rPr>
              <a:t> to ensure clarity.</a:t>
            </a:r>
          </a:p>
          <a:p>
            <a:pPr marL="228600" indent="-228600">
              <a:buFont typeface="+mj-lt"/>
              <a:buAutoNum type="arabicPeriod"/>
            </a:pPr>
            <a:r>
              <a:rPr lang="en-US" sz="1050" b="1">
                <a:solidFill>
                  <a:srgbClr val="FF0000"/>
                </a:solidFill>
                <a:latin typeface="Sofia Sans" panose="020B0604020202020204" charset="0"/>
              </a:rPr>
              <a:t>Pause for a Minute</a:t>
            </a:r>
            <a:r>
              <a:rPr lang="en-US" sz="1050">
                <a:solidFill>
                  <a:srgbClr val="FF0000"/>
                </a:solidFill>
                <a:latin typeface="Sofia Sans" panose="020B0604020202020204" charset="0"/>
              </a:rPr>
              <a:t>: After reading the question, pause for a minute to give participants time to match it with the correct answer.</a:t>
            </a:r>
          </a:p>
          <a:p>
            <a:pPr marL="228600" indent="-228600">
              <a:buFont typeface="+mj-lt"/>
              <a:buAutoNum type="arabicPeriod"/>
            </a:pPr>
            <a:r>
              <a:rPr lang="en-US" sz="1050" b="1">
                <a:solidFill>
                  <a:srgbClr val="FF0000"/>
                </a:solidFill>
                <a:latin typeface="Sofia Sans" panose="020B0604020202020204" charset="0"/>
              </a:rPr>
              <a:t>Control the Game Duration</a:t>
            </a:r>
            <a:r>
              <a:rPr lang="en-US" sz="1050">
                <a:solidFill>
                  <a:srgbClr val="FF0000"/>
                </a:solidFill>
                <a:latin typeface="Sofia Sans" panose="020B0604020202020204" charset="0"/>
              </a:rPr>
              <a:t>: The more spread out your question selection (across the bingo board), the longer the game will last. You can adjust the pace and duration based on how many questions you pick and the intervals between them.</a:t>
            </a:r>
          </a:p>
          <a:p>
            <a:pPr marL="228600" indent="-228600">
              <a:buFont typeface="+mj-lt"/>
              <a:buAutoNum type="arabicPeriod"/>
            </a:pPr>
            <a:r>
              <a:rPr lang="en-US" sz="1050" b="1">
                <a:solidFill>
                  <a:srgbClr val="FF0000"/>
                </a:solidFill>
                <a:latin typeface="Sofia Sans" panose="020B0604020202020204" charset="0"/>
              </a:rPr>
              <a:t>When Someone Calls "BINGO"</a:t>
            </a:r>
            <a:r>
              <a:rPr lang="en-US" sz="1050">
                <a:solidFill>
                  <a:srgbClr val="FF0000"/>
                </a:solidFill>
                <a:latin typeface="Sofia Sans" panose="020B0604020202020204" charset="0"/>
              </a:rPr>
              <a:t>: Verify their answers to confirm if they have matched four in a row correctly. If they have, the game ends. If not, continue the game.</a:t>
            </a:r>
            <a:endParaRPr lang="de-DE" sz="1050">
              <a:solidFill>
                <a:srgbClr val="FF0000"/>
              </a:solidFill>
              <a:latin typeface="Sofia Sans" panose="020B0604020202020204" charset="0"/>
            </a:endParaRPr>
          </a:p>
          <a:p>
            <a:pPr marL="228600" indent="-228600">
              <a:buFont typeface="+mj-lt"/>
              <a:buAutoNum type="arabicPeriod"/>
            </a:pPr>
            <a:endParaRPr lang="de-DE" sz="1050">
              <a:solidFill>
                <a:srgbClr val="FF0000"/>
              </a:solidFill>
              <a:latin typeface="Sofia Sans" panose="020B0604020202020204" charset="0"/>
            </a:endParaRPr>
          </a:p>
        </p:txBody>
      </p:sp>
      <p:sp>
        <p:nvSpPr>
          <p:cNvPr id="7" name="Rechteck 1">
            <a:extLst>
              <a:ext uri="{FF2B5EF4-FFF2-40B4-BE49-F238E27FC236}">
                <a16:creationId xmlns:a16="http://schemas.microsoft.com/office/drawing/2014/main" id="{FB92D44B-816D-D295-FCA6-C6392F494465}"/>
              </a:ext>
            </a:extLst>
          </p:cNvPr>
          <p:cNvSpPr/>
          <p:nvPr/>
        </p:nvSpPr>
        <p:spPr>
          <a:xfrm>
            <a:off x="719138" y="1628028"/>
            <a:ext cx="5740172" cy="5263851"/>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2">
            <a:extLst>
              <a:ext uri="{FF2B5EF4-FFF2-40B4-BE49-F238E27FC236}">
                <a16:creationId xmlns:a16="http://schemas.microsoft.com/office/drawing/2014/main" id="{075FCC11-CEB0-A37A-DBD6-CFBC2C6AC948}"/>
              </a:ext>
            </a:extLst>
          </p:cNvPr>
          <p:cNvSpPr>
            <a:spLocks noChangeAspect="1"/>
          </p:cNvSpPr>
          <p:nvPr/>
        </p:nvSpPr>
        <p:spPr>
          <a:xfrm>
            <a:off x="6128978" y="1309319"/>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19" descr="Lesezeichen mit einfarbiger Füllung">
            <a:extLst>
              <a:ext uri="{FF2B5EF4-FFF2-40B4-BE49-F238E27FC236}">
                <a16:creationId xmlns:a16="http://schemas.microsoft.com/office/drawing/2014/main" id="{69CA0F33-D404-AA8B-E969-66510954F1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37166"/>
            <a:ext cx="404450" cy="404450"/>
          </a:xfrm>
          <a:prstGeom prst="rect">
            <a:avLst/>
          </a:prstGeom>
        </p:spPr>
      </p:pic>
      <p:sp>
        <p:nvSpPr>
          <p:cNvPr id="10" name="Untertitel 5">
            <a:extLst>
              <a:ext uri="{FF2B5EF4-FFF2-40B4-BE49-F238E27FC236}">
                <a16:creationId xmlns:a16="http://schemas.microsoft.com/office/drawing/2014/main" id="{A4BAD088-2A0F-9057-261B-0DB3D2975CC0}"/>
              </a:ext>
            </a:extLst>
          </p:cNvPr>
          <p:cNvSpPr txBox="1">
            <a:spLocks/>
          </p:cNvSpPr>
          <p:nvPr/>
        </p:nvSpPr>
        <p:spPr>
          <a:xfrm>
            <a:off x="894164" y="1727654"/>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1" name="Untertitel 2">
            <a:extLst>
              <a:ext uri="{FF2B5EF4-FFF2-40B4-BE49-F238E27FC236}">
                <a16:creationId xmlns:a16="http://schemas.microsoft.com/office/drawing/2014/main" id="{FB84DBA7-03A4-3DD6-45CF-C013B085F6D0}"/>
              </a:ext>
            </a:extLst>
          </p:cNvPr>
          <p:cNvSpPr>
            <a:spLocks noGrp="1"/>
          </p:cNvSpPr>
          <p:nvPr>
            <p:ph type="subTitle" idx="1"/>
          </p:nvPr>
        </p:nvSpPr>
        <p:spPr>
          <a:xfrm>
            <a:off x="948234" y="2160326"/>
            <a:ext cx="5281980" cy="4388653"/>
          </a:xfrm>
        </p:spPr>
        <p:txBody>
          <a:bodyPr/>
          <a:lstStyle/>
          <a:p>
            <a:pPr marL="139700" indent="0">
              <a:buNone/>
            </a:pPr>
            <a:r>
              <a:rPr lang="en-US" sz="1200"/>
              <a:t>Baseload energy is the minimum power required to keep the grid running</a:t>
            </a:r>
          </a:p>
          <a:p>
            <a:pPr marL="139700" indent="0">
              <a:buNone/>
            </a:pPr>
            <a:r>
              <a:rPr lang="en-US" sz="1200"/>
              <a:t>continuously, ensuring critical services like lighting, refrigeration, and public infrastructure remain operational. Maintaining baseload is essential to prevent grid instability and blackouts.</a:t>
            </a:r>
          </a:p>
          <a:p>
            <a:pPr marL="139700" indent="0">
              <a:buNone/>
            </a:pPr>
            <a:endParaRPr lang="en-US" sz="1200"/>
          </a:p>
          <a:p>
            <a:pPr marL="139700" indent="0">
              <a:buNone/>
            </a:pPr>
            <a:r>
              <a:rPr lang="en-US" sz="1200"/>
              <a:t>Renewable energy sources like hydropower, photovoltaic (PV) solar, and wind differ in their reliability for providing baseload:</a:t>
            </a:r>
          </a:p>
          <a:p>
            <a:pPr>
              <a:buClr>
                <a:schemeClr val="accent5"/>
              </a:buClr>
              <a:buSzPct val="121000"/>
              <a:buFont typeface="Arial" panose="020B0604020202020204" pitchFamily="34" charset="0"/>
              <a:buChar char="•"/>
            </a:pPr>
            <a:r>
              <a:rPr lang="en-US" sz="1200" b="1"/>
              <a:t>Hydropower</a:t>
            </a:r>
            <a:r>
              <a:rPr lang="en-US" sz="1200"/>
              <a:t> is the most reliable, offering consistent and controllable energy through stored water in reservoirs.</a:t>
            </a:r>
          </a:p>
          <a:p>
            <a:pPr>
              <a:buClr>
                <a:schemeClr val="accent5"/>
              </a:buClr>
              <a:buSzPct val="121000"/>
              <a:buFont typeface="Arial" panose="020B0604020202020204" pitchFamily="34" charset="0"/>
              <a:buChar char="•"/>
            </a:pPr>
            <a:r>
              <a:rPr lang="en-US" sz="1200" b="1"/>
              <a:t>PV Solar</a:t>
            </a:r>
            <a:r>
              <a:rPr lang="en-US" sz="1200"/>
              <a:t> is moderately reliable, producing predictable energy during daylight hours but ceasing production at night.</a:t>
            </a:r>
          </a:p>
          <a:p>
            <a:pPr>
              <a:buClr>
                <a:schemeClr val="accent5"/>
              </a:buClr>
              <a:buSzPct val="121000"/>
              <a:buFont typeface="Arial" panose="020B0604020202020204" pitchFamily="34" charset="0"/>
              <a:buChar char="•"/>
            </a:pPr>
            <a:r>
              <a:rPr lang="en-US" sz="1200" b="1"/>
              <a:t>Wind Energy</a:t>
            </a:r>
            <a:r>
              <a:rPr lang="en-US" sz="1200"/>
              <a:t> is the least reliable, with highly variable output dependent on wind conditions.</a:t>
            </a:r>
          </a:p>
          <a:p>
            <a:pPr>
              <a:buFont typeface="Arial" panose="020B0604020202020204" pitchFamily="34" charset="0"/>
              <a:buChar char="•"/>
            </a:pPr>
            <a:endParaRPr lang="en-US" sz="1200"/>
          </a:p>
          <a:p>
            <a:pPr marL="139700" indent="0">
              <a:buNone/>
            </a:pPr>
            <a:r>
              <a:rPr lang="en-US" sz="1200"/>
              <a:t>Through the bingo game, you explored how the fluctuating behavior of these energy sources impacts their ability to support baseload.</a:t>
            </a:r>
          </a:p>
          <a:p>
            <a:pPr marL="139700" indent="0">
              <a:buNone/>
            </a:pPr>
            <a:endParaRPr lang="en-US" sz="1200"/>
          </a:p>
          <a:p>
            <a:pPr marL="139700" indent="0">
              <a:buNone/>
            </a:pPr>
            <a:r>
              <a:rPr lang="en-US" sz="1200"/>
              <a:t>This highlights the importance of combining diverse renewables and </a:t>
            </a:r>
          </a:p>
          <a:p>
            <a:pPr marL="139700" indent="0">
              <a:buNone/>
            </a:pPr>
            <a:r>
              <a:rPr lang="en-US" sz="1200"/>
              <a:t>incorporating technologies like energy storage to ensure a stable and reliable</a:t>
            </a:r>
          </a:p>
          <a:p>
            <a:pPr marL="139700" indent="0">
              <a:buNone/>
            </a:pPr>
            <a:r>
              <a:rPr lang="en-US" sz="1200"/>
              <a:t>grid.</a:t>
            </a:r>
          </a:p>
          <a:p>
            <a:pPr>
              <a:buFont typeface="Arial" panose="020B0604020202020204" pitchFamily="34" charset="0"/>
              <a:buChar char="•"/>
            </a:pPr>
            <a:endParaRPr lang="en-US" sz="1200"/>
          </a:p>
        </p:txBody>
      </p:sp>
    </p:spTree>
    <p:extLst>
      <p:ext uri="{BB962C8B-B14F-4D97-AF65-F5344CB8AC3E}">
        <p14:creationId xmlns:p14="http://schemas.microsoft.com/office/powerpoint/2010/main" val="679038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91679-3936-E300-7E79-A42FC0623A57}"/>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621797E-17E4-5AF2-83F1-03DA790ABFBF}"/>
              </a:ext>
            </a:extLst>
          </p:cNvPr>
          <p:cNvSpPr>
            <a:spLocks noGrp="1"/>
          </p:cNvSpPr>
          <p:nvPr>
            <p:ph type="sldNum" sz="quarter" idx="4"/>
          </p:nvPr>
        </p:nvSpPr>
        <p:spPr/>
        <p:txBody>
          <a:bodyPr/>
          <a:lstStyle/>
          <a:p>
            <a:fld id="{DF7F771E-9578-4C04-B869-01AF4C35C90C}" type="slidenum">
              <a:rPr lang="de-DE" smtClean="0"/>
              <a:t>71</a:t>
            </a:fld>
            <a:endParaRPr lang="de-DE"/>
          </a:p>
        </p:txBody>
      </p:sp>
      <p:sp>
        <p:nvSpPr>
          <p:cNvPr id="4" name="Titel 1">
            <a:extLst>
              <a:ext uri="{FF2B5EF4-FFF2-40B4-BE49-F238E27FC236}">
                <a16:creationId xmlns:a16="http://schemas.microsoft.com/office/drawing/2014/main" id="{607A4BDB-1A3B-4025-DE2D-750F2381D271}"/>
              </a:ext>
            </a:extLst>
          </p:cNvPr>
          <p:cNvSpPr>
            <a:spLocks noGrp="1"/>
          </p:cNvSpPr>
          <p:nvPr>
            <p:ph type="title"/>
          </p:nvPr>
        </p:nvSpPr>
        <p:spPr>
          <a:xfrm>
            <a:off x="719138" y="1277938"/>
            <a:ext cx="6380336" cy="1083315"/>
          </a:xfrm>
        </p:spPr>
        <p:txBody>
          <a:bodyPr/>
          <a:lstStyle/>
          <a:p>
            <a:r>
              <a:rPr lang="de-DE"/>
              <a:t>2. Energy </a:t>
            </a:r>
            <a:r>
              <a:rPr lang="de-DE" err="1"/>
              <a:t>Balancing</a:t>
            </a:r>
            <a:r>
              <a:rPr lang="de-DE"/>
              <a:t> Game </a:t>
            </a:r>
            <a:br>
              <a:rPr lang="de-DE"/>
            </a:br>
            <a:r>
              <a:rPr lang="de-DE"/>
              <a:t>Generation = Demand!? </a:t>
            </a:r>
          </a:p>
        </p:txBody>
      </p:sp>
      <p:sp>
        <p:nvSpPr>
          <p:cNvPr id="6" name="Untertitel 3">
            <a:extLst>
              <a:ext uri="{FF2B5EF4-FFF2-40B4-BE49-F238E27FC236}">
                <a16:creationId xmlns:a16="http://schemas.microsoft.com/office/drawing/2014/main" id="{5CB9874A-2D20-2418-DBC0-537735A0EEFA}"/>
              </a:ext>
            </a:extLst>
          </p:cNvPr>
          <p:cNvSpPr txBox="1">
            <a:spLocks/>
          </p:cNvSpPr>
          <p:nvPr/>
        </p:nvSpPr>
        <p:spPr>
          <a:xfrm>
            <a:off x="723354" y="2427293"/>
            <a:ext cx="5883912" cy="11855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Understand the causes and effects of fluctuating renewable electricity generation when  it meets varying energy demand. Explore how these fluctuations impact the energy grid, including issues like surpluses and deficits. Gain hands-on experience in identifying  strategies to achieve and maintain a perfect balance within the system, ensuring grid stability and efficiency.</a:t>
            </a:r>
            <a:endParaRPr lang="de-DE" sz="1200"/>
          </a:p>
        </p:txBody>
      </p:sp>
      <p:sp>
        <p:nvSpPr>
          <p:cNvPr id="11" name="Untertitel 3">
            <a:extLst>
              <a:ext uri="{FF2B5EF4-FFF2-40B4-BE49-F238E27FC236}">
                <a16:creationId xmlns:a16="http://schemas.microsoft.com/office/drawing/2014/main" id="{A4349A53-FC38-28D7-9979-E66C2A361DCC}"/>
              </a:ext>
            </a:extLst>
          </p:cNvPr>
          <p:cNvSpPr txBox="1">
            <a:spLocks/>
          </p:cNvSpPr>
          <p:nvPr/>
        </p:nvSpPr>
        <p:spPr>
          <a:xfrm>
            <a:off x="719138" y="4647311"/>
            <a:ext cx="5883912" cy="476656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solidFill>
                  <a:schemeClr val="accent5"/>
                </a:solidFill>
              </a:rPr>
              <a:t>Instructions</a:t>
            </a:r>
            <a:r>
              <a:rPr lang="en-US" sz="1200" b="1"/>
              <a:t> </a:t>
            </a:r>
          </a:p>
          <a:p>
            <a:pPr marL="139700" indent="0">
              <a:lnSpc>
                <a:spcPct val="150000"/>
              </a:lnSpc>
              <a:buClr>
                <a:schemeClr val="accent5"/>
              </a:buClr>
              <a:buSzPct val="121000"/>
            </a:pPr>
            <a:endParaRPr lang="en-US" sz="1200">
              <a:latin typeface="Sofia Sans" panose="020B0604020202020204" charset="0"/>
            </a:endParaRPr>
          </a:p>
          <a:p>
            <a:r>
              <a:rPr lang="en-US" sz="1200"/>
              <a:t>On the next page, you will find an </a:t>
            </a:r>
            <a:r>
              <a:rPr lang="en-US" sz="1200" b="1"/>
              <a:t>Energy Demand Sheet</a:t>
            </a:r>
            <a:r>
              <a:rPr lang="en-US" sz="1200"/>
              <a:t> detailing the electricity </a:t>
            </a:r>
          </a:p>
          <a:p>
            <a:r>
              <a:rPr lang="en-US" sz="1200"/>
              <a:t>requirements for a city over five working days (Monday to Friday). The city </a:t>
            </a:r>
          </a:p>
          <a:p>
            <a:r>
              <a:rPr lang="en-US" sz="1200"/>
              <a:t>generates electricity using a </a:t>
            </a:r>
            <a:r>
              <a:rPr lang="en-US" sz="1200" b="1"/>
              <a:t>PV &amp; Wind park</a:t>
            </a:r>
            <a:r>
              <a:rPr lang="en-US" sz="1200"/>
              <a:t>, and a </a:t>
            </a:r>
            <a:r>
              <a:rPr lang="en-US" sz="1200" b="1"/>
              <a:t>hydro power plant</a:t>
            </a:r>
            <a:r>
              <a:rPr lang="en-US" sz="1200"/>
              <a:t>.</a:t>
            </a:r>
          </a:p>
          <a:p>
            <a:endParaRPr lang="en-US" sz="1200">
              <a:latin typeface="Sofia Sans" panose="020B0604020202020204" charset="0"/>
            </a:endParaRPr>
          </a:p>
          <a:p>
            <a:r>
              <a:rPr lang="en-US" sz="1200"/>
              <a:t>At the bottom of the sheet, you will see whether there is a </a:t>
            </a:r>
            <a:r>
              <a:rPr lang="en-US" sz="1200" b="1"/>
              <a:t>surplus</a:t>
            </a:r>
            <a:r>
              <a:rPr lang="en-US" sz="1200"/>
              <a:t> or </a:t>
            </a:r>
            <a:r>
              <a:rPr lang="en-US" sz="1200" b="1"/>
              <a:t>deficit</a:t>
            </a:r>
            <a:r>
              <a:rPr lang="en-US" sz="1200"/>
              <a:t> in </a:t>
            </a:r>
          </a:p>
          <a:p>
            <a:r>
              <a:rPr lang="en-US" sz="1200"/>
              <a:t>energy during the morning, midday or evening for each day.</a:t>
            </a:r>
          </a:p>
          <a:p>
            <a:endParaRPr lang="en-US" sz="1200">
              <a:latin typeface="Sofia Sans" panose="020B0604020202020204" charset="0"/>
            </a:endParaRPr>
          </a:p>
          <a:p>
            <a:r>
              <a:rPr lang="en-US" sz="1200"/>
              <a:t>Your task is to guide the city through various scenarios that arise during the week including sunny, windy, and high-demand situations.</a:t>
            </a:r>
          </a:p>
          <a:p>
            <a:endParaRPr lang="en-US" sz="1200">
              <a:latin typeface="Sofia Sans" panose="020B0604020202020204" charset="0"/>
            </a:endParaRPr>
          </a:p>
          <a:p>
            <a:pPr>
              <a:buClr>
                <a:schemeClr val="accent5"/>
              </a:buClr>
              <a:buSzPct val="121000"/>
              <a:buFont typeface="+mj-lt"/>
              <a:buAutoNum type="arabicPeriod"/>
            </a:pPr>
            <a:r>
              <a:rPr lang="en-US" sz="1200"/>
              <a:t>Carefully analyze the energy demand and generation data provided.</a:t>
            </a:r>
          </a:p>
          <a:p>
            <a:pPr>
              <a:buClr>
                <a:schemeClr val="accent5"/>
              </a:buClr>
              <a:buSzPct val="121000"/>
              <a:buFont typeface="+mj-lt"/>
              <a:buAutoNum type="arabicPeriod"/>
            </a:pPr>
            <a:r>
              <a:rPr lang="en-US" sz="1200"/>
              <a:t>Work through </a:t>
            </a:r>
            <a:r>
              <a:rPr lang="en-US" sz="1200" b="1"/>
              <a:t>Tasks 1 to 4</a:t>
            </a:r>
            <a:r>
              <a:rPr lang="en-US" sz="1200"/>
              <a:t>, using the information to solve the challenges presented for each day. </a:t>
            </a:r>
          </a:p>
          <a:p>
            <a:pPr>
              <a:buClr>
                <a:schemeClr val="accent5"/>
              </a:buClr>
              <a:buSzPct val="121000"/>
              <a:buFont typeface="+mj-lt"/>
              <a:buAutoNum type="arabicPeriod"/>
            </a:pPr>
            <a:r>
              <a:rPr lang="en-US" sz="1200"/>
              <a:t>Apply your understanding of energy balancing to ensure the city maintains a stable and reliable electricity grid.</a:t>
            </a:r>
          </a:p>
          <a:p>
            <a:pPr>
              <a:buClr>
                <a:schemeClr val="accent5"/>
              </a:buClr>
              <a:buSzPct val="121000"/>
              <a:buFont typeface="+mj-lt"/>
              <a:buAutoNum type="arabicPeriod"/>
            </a:pPr>
            <a:endParaRPr lang="en-US" sz="1200">
              <a:latin typeface="Sofia Sans" panose="020B0604020202020204" charset="0"/>
            </a:endParaRPr>
          </a:p>
          <a:p>
            <a:pPr marL="139700" indent="0"/>
            <a:endParaRPr lang="en-US" sz="1200" b="1">
              <a:latin typeface="Sofia Sans" panose="020B0604020202020204" charset="0"/>
            </a:endParaRPr>
          </a:p>
        </p:txBody>
      </p:sp>
      <p:grpSp>
        <p:nvGrpSpPr>
          <p:cNvPr id="13" name="Gruppieren 12">
            <a:extLst>
              <a:ext uri="{FF2B5EF4-FFF2-40B4-BE49-F238E27FC236}">
                <a16:creationId xmlns:a16="http://schemas.microsoft.com/office/drawing/2014/main" id="{21F6DA06-6D4C-CCD5-1326-70507629048A}"/>
              </a:ext>
            </a:extLst>
          </p:cNvPr>
          <p:cNvGrpSpPr/>
          <p:nvPr/>
        </p:nvGrpSpPr>
        <p:grpSpPr>
          <a:xfrm>
            <a:off x="719138" y="3912357"/>
            <a:ext cx="2000022" cy="480127"/>
            <a:chOff x="717779" y="1922947"/>
            <a:chExt cx="2000022" cy="480127"/>
          </a:xfrm>
        </p:grpSpPr>
        <p:sp>
          <p:nvSpPr>
            <p:cNvPr id="14" name="Untertitel 5">
              <a:extLst>
                <a:ext uri="{FF2B5EF4-FFF2-40B4-BE49-F238E27FC236}">
                  <a16:creationId xmlns:a16="http://schemas.microsoft.com/office/drawing/2014/main" id="{A11E8BF3-EE88-9D5B-BCAE-F506127158AE}"/>
                </a:ext>
              </a:extLst>
            </p:cNvPr>
            <p:cNvSpPr txBox="1">
              <a:spLocks/>
            </p:cNvSpPr>
            <p:nvPr/>
          </p:nvSpPr>
          <p:spPr>
            <a:xfrm>
              <a:off x="1136421" y="1928883"/>
              <a:ext cx="158138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5" name="Ellipse 14">
              <a:extLst>
                <a:ext uri="{FF2B5EF4-FFF2-40B4-BE49-F238E27FC236}">
                  <a16:creationId xmlns:a16="http://schemas.microsoft.com/office/drawing/2014/main" id="{50AB53FA-00CB-B7B6-55D0-AF87549C32BC}"/>
                </a:ext>
              </a:extLst>
            </p:cNvPr>
            <p:cNvSpPr>
              <a:spLocks noChangeAspect="1"/>
            </p:cNvSpPr>
            <p:nvPr/>
          </p:nvSpPr>
          <p:spPr>
            <a:xfrm>
              <a:off x="717779" y="1922947"/>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Skizze mit einfarbiger Füllung">
              <a:extLst>
                <a:ext uri="{FF2B5EF4-FFF2-40B4-BE49-F238E27FC236}">
                  <a16:creationId xmlns:a16="http://schemas.microsoft.com/office/drawing/2014/main" id="{9E8FB2CA-B52D-9C41-BBBD-7CB249F925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1986679"/>
              <a:ext cx="379044" cy="379044"/>
            </a:xfrm>
            <a:prstGeom prst="rect">
              <a:avLst/>
            </a:prstGeom>
          </p:spPr>
        </p:pic>
      </p:grpSp>
      <p:pic>
        <p:nvPicPr>
          <p:cNvPr id="2" name="Grafik 1" descr="Ein Bild, das Dreieck, Stern, Kunst, Design enthält.&#10;&#10;KI-generierte Inhalte können fehlerhaft sein.">
            <a:extLst>
              <a:ext uri="{FF2B5EF4-FFF2-40B4-BE49-F238E27FC236}">
                <a16:creationId xmlns:a16="http://schemas.microsoft.com/office/drawing/2014/main" id="{6BBD35C4-05C1-0A86-E485-6DF19C59D92C}"/>
              </a:ext>
            </a:extLst>
          </p:cNvPr>
          <p:cNvPicPr>
            <a:picLocks noChangeAspect="1"/>
          </p:cNvPicPr>
          <p:nvPr/>
        </p:nvPicPr>
        <p:blipFill>
          <a:blip r:embed="rId4"/>
          <a:stretch>
            <a:fillRect/>
          </a:stretch>
        </p:blipFill>
        <p:spPr>
          <a:xfrm>
            <a:off x="6003658" y="1496471"/>
            <a:ext cx="649946" cy="646247"/>
          </a:xfrm>
          <a:prstGeom prst="rect">
            <a:avLst/>
          </a:prstGeom>
        </p:spPr>
      </p:pic>
    </p:spTree>
    <p:extLst>
      <p:ext uri="{BB962C8B-B14F-4D97-AF65-F5344CB8AC3E}">
        <p14:creationId xmlns:p14="http://schemas.microsoft.com/office/powerpoint/2010/main" val="18582852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7768E-BBBB-8A2B-B482-40DE78295910}"/>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B1EE90BF-F359-2C3D-F4F8-D149D508FA5F}"/>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72</a:t>
            </a:fld>
            <a:endParaRPr lang="de-DE"/>
          </a:p>
        </p:txBody>
      </p:sp>
      <p:sp>
        <p:nvSpPr>
          <p:cNvPr id="6" name="Untertitel 5">
            <a:extLst>
              <a:ext uri="{FF2B5EF4-FFF2-40B4-BE49-F238E27FC236}">
                <a16:creationId xmlns:a16="http://schemas.microsoft.com/office/drawing/2014/main" id="{558C3790-6307-7F31-C433-D53ACC21A0DC}"/>
              </a:ext>
            </a:extLst>
          </p:cNvPr>
          <p:cNvSpPr txBox="1">
            <a:spLocks/>
          </p:cNvSpPr>
          <p:nvPr/>
        </p:nvSpPr>
        <p:spPr>
          <a:xfrm>
            <a:off x="719453" y="6586759"/>
            <a:ext cx="150304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1 - Monday</a:t>
            </a:r>
          </a:p>
        </p:txBody>
      </p:sp>
      <p:sp>
        <p:nvSpPr>
          <p:cNvPr id="4" name="Untertitel 3">
            <a:extLst>
              <a:ext uri="{FF2B5EF4-FFF2-40B4-BE49-F238E27FC236}">
                <a16:creationId xmlns:a16="http://schemas.microsoft.com/office/drawing/2014/main" id="{36B34D51-D882-2364-F395-885F830203E8}"/>
              </a:ext>
            </a:extLst>
          </p:cNvPr>
          <p:cNvSpPr txBox="1">
            <a:spLocks/>
          </p:cNvSpPr>
          <p:nvPr/>
        </p:nvSpPr>
        <p:spPr>
          <a:xfrm>
            <a:off x="921213" y="7005400"/>
            <a:ext cx="5919009" cy="149019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latin typeface="Sofia Sans" panose="020B0604020202020204" charset="0"/>
              </a:rPr>
              <a:t>Explore electricity generation and demand.</a:t>
            </a:r>
          </a:p>
          <a:p>
            <a:pPr marL="139700" indent="0"/>
            <a:endParaRPr lang="de-DE" sz="1200" b="1" kern="100">
              <a:effectLst/>
              <a:latin typeface="Sofia Sans" panose="020B0604020202020204" charset="0"/>
              <a:ea typeface="Aptos" panose="020B0004020202020204" pitchFamily="34" charset="0"/>
              <a:cs typeface="Times New Roman" panose="02020603050405020304" pitchFamily="18" charset="0"/>
            </a:endParaRPr>
          </a:p>
          <a:p>
            <a:pPr marL="139700" indent="0">
              <a:buClr>
                <a:schemeClr val="accent5"/>
              </a:buClr>
              <a:buSzPct val="121000"/>
            </a:pPr>
            <a:r>
              <a:rPr lang="de-DE" sz="1200" b="1" kern="100">
                <a:effectLst/>
                <a:latin typeface="Sofia Sans" panose="020B0604020202020204" charset="0"/>
                <a:ea typeface="Aptos" panose="020B0004020202020204" pitchFamily="34" charset="0"/>
                <a:cs typeface="Times New Roman" panose="02020603050405020304" pitchFamily="18" charset="0"/>
              </a:rPr>
              <a:t>a. </a:t>
            </a:r>
            <a:r>
              <a:rPr lang="en-DE" sz="1200" b="1" kern="100">
                <a:effectLst/>
                <a:latin typeface="Sofia Sans" panose="020B0604020202020204" charset="0"/>
                <a:ea typeface="Aptos" panose="020B0004020202020204" pitchFamily="34" charset="0"/>
                <a:cs typeface="Times New Roman" panose="02020603050405020304" pitchFamily="18" charset="0"/>
              </a:rPr>
              <a:t>What can you tell about the electricity generation of PV, wind, and hydro?</a:t>
            </a:r>
            <a:endParaRPr lang="de-DE" sz="1200" b="1" kern="100">
              <a:effectLst/>
              <a:latin typeface="Sofia Sans" panose="020B0604020202020204" charset="0"/>
              <a:ea typeface="Aptos" panose="020B0004020202020204" pitchFamily="34" charset="0"/>
              <a:cs typeface="Times New Roman" panose="02020603050405020304" pitchFamily="18" charset="0"/>
            </a:endParaRPr>
          </a:p>
          <a:p>
            <a:pPr marL="368300" indent="-228600">
              <a:buClr>
                <a:schemeClr val="accent5"/>
              </a:buClr>
              <a:buSzPct val="121000"/>
              <a:buAutoNum type="alphaLcPeriod"/>
            </a:pPr>
            <a:endParaRPr lang="de-DE" sz="1200" b="1" kern="100">
              <a:effectLst/>
              <a:latin typeface="Sofia Sans" panose="020B0604020202020204" charset="0"/>
              <a:ea typeface="Aptos" panose="020B0004020202020204" pitchFamily="34" charset="0"/>
              <a:cs typeface="Times New Roman" panose="02020603050405020304" pitchFamily="18" charset="0"/>
            </a:endParaRPr>
          </a:p>
          <a:p>
            <a:pPr marL="139700" indent="0">
              <a:buClr>
                <a:schemeClr val="accent5"/>
              </a:buClr>
              <a:buSzPct val="121000"/>
            </a:pPr>
            <a:r>
              <a:rPr lang="de-DE" sz="1200" b="1" kern="100">
                <a:effectLst/>
                <a:latin typeface="Sofia Sans" panose="020B0604020202020204" charset="0"/>
                <a:ea typeface="Aptos" panose="020B0004020202020204" pitchFamily="34" charset="0"/>
                <a:cs typeface="Times New Roman" panose="02020603050405020304" pitchFamily="18" charset="0"/>
              </a:rPr>
              <a:t>b. Rank </a:t>
            </a:r>
            <a:r>
              <a:rPr lang="de-DE" sz="1200" b="1" kern="100" err="1">
                <a:effectLst/>
                <a:latin typeface="Sofia Sans" panose="020B0604020202020204" charset="0"/>
                <a:ea typeface="Aptos" panose="020B0004020202020204" pitchFamily="34" charset="0"/>
                <a:cs typeface="Times New Roman" panose="02020603050405020304" pitchFamily="18" charset="0"/>
              </a:rPr>
              <a:t>the</a:t>
            </a:r>
            <a:r>
              <a:rPr lang="de-DE" sz="1200" b="1" kern="100">
                <a:effectLst/>
                <a:latin typeface="Sofia Sans" panose="020B0604020202020204" charset="0"/>
                <a:ea typeface="Aptos" panose="020B0004020202020204" pitchFamily="34" charset="0"/>
                <a:cs typeface="Times New Roman" panose="02020603050405020304" pitchFamily="18" charset="0"/>
              </a:rPr>
              <a:t> </a:t>
            </a:r>
            <a:r>
              <a:rPr lang="de-DE" sz="1200" b="1" kern="100" err="1">
                <a:effectLst/>
                <a:latin typeface="Sofia Sans" panose="020B0604020202020204" charset="0"/>
                <a:ea typeface="Aptos" panose="020B0004020202020204" pitchFamily="34" charset="0"/>
                <a:cs typeface="Times New Roman" panose="02020603050405020304" pitchFamily="18" charset="0"/>
              </a:rPr>
              <a:t>reliability</a:t>
            </a:r>
            <a:r>
              <a:rPr lang="de-DE" sz="1200" b="1" kern="100">
                <a:effectLst/>
                <a:latin typeface="Sofia Sans" panose="020B0604020202020204" charset="0"/>
                <a:ea typeface="Aptos" panose="020B0004020202020204" pitchFamily="34" charset="0"/>
                <a:cs typeface="Times New Roman" panose="02020603050405020304" pitchFamily="18" charset="0"/>
              </a:rPr>
              <a:t> </a:t>
            </a:r>
            <a:r>
              <a:rPr lang="de-DE" sz="1200" b="1" kern="100" err="1">
                <a:effectLst/>
                <a:latin typeface="Sofia Sans" panose="020B0604020202020204" charset="0"/>
                <a:ea typeface="Aptos" panose="020B0004020202020204" pitchFamily="34" charset="0"/>
                <a:cs typeface="Times New Roman" panose="02020603050405020304" pitchFamily="18" charset="0"/>
              </a:rPr>
              <a:t>of</a:t>
            </a:r>
            <a:r>
              <a:rPr lang="de-DE" sz="1200" b="1" kern="100">
                <a:effectLst/>
                <a:latin typeface="Sofia Sans" panose="020B0604020202020204" charset="0"/>
                <a:ea typeface="Aptos" panose="020B0004020202020204" pitchFamily="34" charset="0"/>
                <a:cs typeface="Times New Roman" panose="02020603050405020304" pitchFamily="18" charset="0"/>
              </a:rPr>
              <a:t> </a:t>
            </a:r>
            <a:r>
              <a:rPr lang="de-DE" sz="1200" b="1" kern="100" err="1">
                <a:effectLst/>
                <a:latin typeface="Sofia Sans" panose="020B0604020202020204" charset="0"/>
                <a:ea typeface="Aptos" panose="020B0004020202020204" pitchFamily="34" charset="0"/>
                <a:cs typeface="Times New Roman" panose="02020603050405020304" pitchFamily="18" charset="0"/>
              </a:rPr>
              <a:t>the</a:t>
            </a:r>
            <a:r>
              <a:rPr lang="de-DE" sz="1200" b="1" kern="100">
                <a:effectLst/>
                <a:latin typeface="Sofia Sans" panose="020B0604020202020204" charset="0"/>
                <a:ea typeface="Aptos" panose="020B0004020202020204" pitchFamily="34" charset="0"/>
                <a:cs typeface="Times New Roman" panose="02020603050405020304" pitchFamily="18" charset="0"/>
              </a:rPr>
              <a:t> </a:t>
            </a:r>
            <a:r>
              <a:rPr lang="de-DE" sz="1200" b="1" kern="100" err="1">
                <a:effectLst/>
                <a:latin typeface="Sofia Sans" panose="020B0604020202020204" charset="0"/>
                <a:ea typeface="Aptos" panose="020B0004020202020204" pitchFamily="34" charset="0"/>
                <a:cs typeface="Times New Roman" panose="02020603050405020304" pitchFamily="18" charset="0"/>
              </a:rPr>
              <a:t>three</a:t>
            </a:r>
            <a:r>
              <a:rPr lang="de-DE" sz="1200" b="1" kern="100">
                <a:effectLst/>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renewable</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energy</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sources</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from</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highest</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to</a:t>
            </a:r>
            <a:r>
              <a:rPr lang="de-DE" sz="1200" b="1" kern="100">
                <a:latin typeface="Sofia Sans" panose="020B0604020202020204" charset="0"/>
                <a:ea typeface="Aptos" panose="020B0004020202020204" pitchFamily="34" charset="0"/>
                <a:cs typeface="Times New Roman" panose="02020603050405020304" pitchFamily="18" charset="0"/>
              </a:rPr>
              <a:t> </a:t>
            </a:r>
            <a:r>
              <a:rPr lang="de-DE" sz="1200" b="1" kern="100" err="1">
                <a:latin typeface="Sofia Sans" panose="020B0604020202020204" charset="0"/>
                <a:ea typeface="Aptos" panose="020B0004020202020204" pitchFamily="34" charset="0"/>
                <a:cs typeface="Times New Roman" panose="02020603050405020304" pitchFamily="18" charset="0"/>
              </a:rPr>
              <a:t>lowest</a:t>
            </a:r>
            <a:r>
              <a:rPr lang="de-DE" sz="1200" b="1" kern="100">
                <a:latin typeface="Sofia Sans" panose="020B0604020202020204" charset="0"/>
                <a:ea typeface="Aptos" panose="020B0004020202020204" pitchFamily="34" charset="0"/>
                <a:cs typeface="Times New Roman" panose="02020603050405020304" pitchFamily="18" charset="0"/>
              </a:rPr>
              <a:t>.</a:t>
            </a:r>
          </a:p>
          <a:p>
            <a:pPr marL="139700" indent="0">
              <a:buClr>
                <a:schemeClr val="accent5"/>
              </a:buClr>
              <a:buSzPct val="121000"/>
            </a:pPr>
            <a:endParaRPr lang="de-DE" sz="1200" b="1" kern="100">
              <a:latin typeface="Sofia Sans" panose="020B0604020202020204" charset="0"/>
              <a:ea typeface="Aptos" panose="020B0004020202020204" pitchFamily="34" charset="0"/>
              <a:cs typeface="Times New Roman" panose="02020603050405020304" pitchFamily="18" charset="0"/>
            </a:endParaRPr>
          </a:p>
          <a:p>
            <a:pPr marL="139700" indent="0">
              <a:buClr>
                <a:schemeClr val="accent5"/>
              </a:buClr>
              <a:buSzPct val="121000"/>
            </a:pPr>
            <a:r>
              <a:rPr lang="de-DE" sz="1200" b="1" kern="100">
                <a:latin typeface="Sofia Sans" panose="020B0604020202020204" charset="0"/>
                <a:cs typeface="Times New Roman" panose="02020603050405020304" pitchFamily="18" charset="0"/>
              </a:rPr>
              <a:t>c. </a:t>
            </a:r>
            <a:r>
              <a:rPr lang="en-DE" sz="1200" b="1" kern="100">
                <a:latin typeface="Sofia Sans" panose="020B0604020202020204" charset="0"/>
                <a:cs typeface="Times New Roman" panose="02020603050405020304" pitchFamily="18" charset="0"/>
              </a:rPr>
              <a:t>What is surplus/deficit energy, and how is it calculated? Why is it important?</a:t>
            </a:r>
            <a:endParaRPr lang="de-DE" sz="1200" b="1" kern="100">
              <a:latin typeface="Sofia Sans" panose="020B0604020202020204" charset="0"/>
              <a:cs typeface="Times New Roman" panose="02020603050405020304" pitchFamily="18" charset="0"/>
            </a:endParaRPr>
          </a:p>
          <a:p>
            <a:pPr marL="139700" indent="0">
              <a:buClr>
                <a:schemeClr val="accent5"/>
              </a:buClr>
              <a:buSzPct val="121000"/>
            </a:pPr>
            <a:endParaRPr lang="de-DE" sz="1200" b="1" kern="100">
              <a:latin typeface="Sofia Sans" panose="020B0604020202020204" charset="0"/>
              <a:cs typeface="Times New Roman" panose="02020603050405020304" pitchFamily="18" charset="0"/>
            </a:endParaRPr>
          </a:p>
          <a:p>
            <a:pPr marL="139700" indent="0">
              <a:buClr>
                <a:schemeClr val="accent5"/>
              </a:buClr>
              <a:buSzPct val="121000"/>
            </a:pPr>
            <a:r>
              <a:rPr lang="de-DE" sz="1200" b="1" kern="100">
                <a:latin typeface="Sofia Sans" panose="020B0604020202020204" charset="0"/>
                <a:cs typeface="Times New Roman" panose="02020603050405020304" pitchFamily="18" charset="0"/>
              </a:rPr>
              <a:t>d. </a:t>
            </a:r>
            <a:r>
              <a:rPr lang="en-DE" sz="1200" b="1" kern="100">
                <a:latin typeface="Sofia Sans" panose="020B0604020202020204" charset="0"/>
                <a:cs typeface="Times New Roman" panose="02020603050405020304" pitchFamily="18" charset="0"/>
              </a:rPr>
              <a:t>What </a:t>
            </a:r>
            <a:r>
              <a:rPr lang="de-DE" sz="1200" b="1" kern="100" err="1">
                <a:latin typeface="Sofia Sans" panose="020B0604020202020204" charset="0"/>
                <a:cs typeface="Times New Roman" panose="02020603050405020304" pitchFamily="18" charset="0"/>
              </a:rPr>
              <a:t>would</a:t>
            </a:r>
            <a:r>
              <a:rPr lang="de-DE" sz="1200" b="1" kern="100">
                <a:latin typeface="Sofia Sans" panose="020B0604020202020204" charset="0"/>
                <a:cs typeface="Times New Roman" panose="02020603050405020304" pitchFamily="18" charset="0"/>
              </a:rPr>
              <a:t> </a:t>
            </a:r>
            <a:r>
              <a:rPr lang="de-DE" sz="1200" b="1" kern="100" err="1">
                <a:latin typeface="Sofia Sans" panose="020B0604020202020204" charset="0"/>
                <a:cs typeface="Times New Roman" panose="02020603050405020304" pitchFamily="18" charset="0"/>
              </a:rPr>
              <a:t>you</a:t>
            </a:r>
            <a:r>
              <a:rPr lang="de-DE" sz="1200" b="1" kern="100">
                <a:latin typeface="Sofia Sans" panose="020B0604020202020204" charset="0"/>
                <a:cs typeface="Times New Roman" panose="02020603050405020304" pitchFamily="18" charset="0"/>
              </a:rPr>
              <a:t> </a:t>
            </a:r>
            <a:r>
              <a:rPr lang="de-DE" sz="1200" b="1" kern="100" err="1">
                <a:latin typeface="Sofia Sans" panose="020B0604020202020204" charset="0"/>
                <a:cs typeface="Times New Roman" panose="02020603050405020304" pitchFamily="18" charset="0"/>
              </a:rPr>
              <a:t>consider</a:t>
            </a:r>
            <a:r>
              <a:rPr lang="en-DE" sz="1200" b="1" kern="100">
                <a:latin typeface="Sofia Sans" panose="020B0604020202020204" charset="0"/>
                <a:cs typeface="Times New Roman" panose="02020603050405020304" pitchFamily="18" charset="0"/>
              </a:rPr>
              <a:t> baseload and peakload on Monday?</a:t>
            </a:r>
          </a:p>
          <a:p>
            <a:pPr marL="139700" indent="0">
              <a:buClr>
                <a:schemeClr val="accent5"/>
              </a:buClr>
              <a:buSzPct val="121000"/>
            </a:pPr>
            <a:endParaRPr lang="en-DE" sz="1200" b="1" kern="100">
              <a:latin typeface="Sofia Sans" panose="020B0604020202020204" charset="0"/>
              <a:cs typeface="Times New Roman" panose="02020603050405020304" pitchFamily="18" charset="0"/>
            </a:endParaRPr>
          </a:p>
        </p:txBody>
      </p:sp>
      <p:pic>
        <p:nvPicPr>
          <p:cNvPr id="3" name="Grafik 2">
            <a:extLst>
              <a:ext uri="{FF2B5EF4-FFF2-40B4-BE49-F238E27FC236}">
                <a16:creationId xmlns:a16="http://schemas.microsoft.com/office/drawing/2014/main" id="{D661703D-7697-A7BD-DCFE-F1E4C110DFC0}"/>
              </a:ext>
            </a:extLst>
          </p:cNvPr>
          <p:cNvPicPr>
            <a:picLocks noChangeAspect="1"/>
          </p:cNvPicPr>
          <p:nvPr/>
        </p:nvPicPr>
        <p:blipFill>
          <a:blip r:embed="rId2"/>
          <a:stretch>
            <a:fillRect/>
          </a:stretch>
        </p:blipFill>
        <p:spPr>
          <a:xfrm>
            <a:off x="751768" y="1295836"/>
            <a:ext cx="6102252" cy="4813200"/>
          </a:xfrm>
          <a:prstGeom prst="rect">
            <a:avLst/>
          </a:prstGeom>
        </p:spPr>
      </p:pic>
    </p:spTree>
    <p:extLst>
      <p:ext uri="{BB962C8B-B14F-4D97-AF65-F5344CB8AC3E}">
        <p14:creationId xmlns:p14="http://schemas.microsoft.com/office/powerpoint/2010/main" val="931298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C8F60-89EA-2A4A-B4CD-0A2A36B8D5DD}"/>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2FA1F6EA-0F4B-CCEA-15DC-0AA4204BAF17}"/>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73</a:t>
            </a:fld>
            <a:endParaRPr lang="de-DE"/>
          </a:p>
        </p:txBody>
      </p:sp>
      <p:sp>
        <p:nvSpPr>
          <p:cNvPr id="4" name="Untertitel 3">
            <a:extLst>
              <a:ext uri="{FF2B5EF4-FFF2-40B4-BE49-F238E27FC236}">
                <a16:creationId xmlns:a16="http://schemas.microsoft.com/office/drawing/2014/main" id="{451876BC-4C19-CA51-3A55-EDC0C94618A5}"/>
              </a:ext>
            </a:extLst>
          </p:cNvPr>
          <p:cNvSpPr txBox="1">
            <a:spLocks/>
          </p:cNvSpPr>
          <p:nvPr/>
        </p:nvSpPr>
        <p:spPr>
          <a:xfrm>
            <a:off x="719138" y="6224785"/>
            <a:ext cx="5919009" cy="65118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de-DE" sz="1200" b="1">
                <a:solidFill>
                  <a:srgbClr val="FF0000"/>
                </a:solidFill>
                <a:latin typeface="Sofia Sans" panose="020B0604020202020204" charset="0"/>
              </a:rPr>
              <a:t>Sample Solution Energy Sheet</a:t>
            </a:r>
            <a:endParaRPr lang="en-US" sz="1200" b="1" i="0">
              <a:solidFill>
                <a:srgbClr val="FF0000"/>
              </a:solidFill>
              <a:effectLst/>
              <a:latin typeface="Sofia Sans" panose="020B0604020202020204" charset="0"/>
            </a:endParaRPr>
          </a:p>
        </p:txBody>
      </p:sp>
      <p:pic>
        <p:nvPicPr>
          <p:cNvPr id="3" name="Grafik 2">
            <a:extLst>
              <a:ext uri="{FF2B5EF4-FFF2-40B4-BE49-F238E27FC236}">
                <a16:creationId xmlns:a16="http://schemas.microsoft.com/office/drawing/2014/main" id="{5A824E95-AB84-F800-8B4C-FED2AB7F38D7}"/>
              </a:ext>
            </a:extLst>
          </p:cNvPr>
          <p:cNvPicPr>
            <a:picLocks noChangeAspect="1"/>
          </p:cNvPicPr>
          <p:nvPr/>
        </p:nvPicPr>
        <p:blipFill>
          <a:blip r:embed="rId2"/>
          <a:stretch>
            <a:fillRect/>
          </a:stretch>
        </p:blipFill>
        <p:spPr>
          <a:xfrm>
            <a:off x="719951" y="1300412"/>
            <a:ext cx="6120271" cy="4813475"/>
          </a:xfrm>
          <a:prstGeom prst="rect">
            <a:avLst/>
          </a:prstGeom>
        </p:spPr>
      </p:pic>
    </p:spTree>
    <p:extLst>
      <p:ext uri="{BB962C8B-B14F-4D97-AF65-F5344CB8AC3E}">
        <p14:creationId xmlns:p14="http://schemas.microsoft.com/office/powerpoint/2010/main" val="322924279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1251E-7012-62F3-3C2A-0692A24D3F48}"/>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AA6E41DD-AE1D-C9EE-6EEF-A576B84EEC0B}"/>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74</a:t>
            </a:fld>
            <a:endParaRPr lang="de-DE"/>
          </a:p>
        </p:txBody>
      </p:sp>
      <p:sp>
        <p:nvSpPr>
          <p:cNvPr id="7" name="Textfeld 11">
            <a:extLst>
              <a:ext uri="{FF2B5EF4-FFF2-40B4-BE49-F238E27FC236}">
                <a16:creationId xmlns:a16="http://schemas.microsoft.com/office/drawing/2014/main" id="{83BB0FC1-823D-A03D-148D-28209D202391}"/>
              </a:ext>
            </a:extLst>
          </p:cNvPr>
          <p:cNvSpPr txBox="1"/>
          <p:nvPr/>
        </p:nvSpPr>
        <p:spPr>
          <a:xfrm>
            <a:off x="917608" y="1683565"/>
            <a:ext cx="6007450" cy="107825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PV fluctuates strongly because of the sun.</a:t>
            </a:r>
            <a:endPar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Wind also fluctuates but not as much as PV.</a:t>
            </a: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Hydro is very stable</a:t>
            </a:r>
          </a:p>
          <a:p>
            <a:pPr marL="144000"/>
            <a:endParaRPr lang="de-DE" sz="1200">
              <a:solidFill>
                <a:srgbClr val="FF0000"/>
              </a:solidFill>
              <a:latin typeface="Sofia Sans" panose="020B0604020202020204" charset="0"/>
            </a:endParaRPr>
          </a:p>
        </p:txBody>
      </p:sp>
      <p:sp>
        <p:nvSpPr>
          <p:cNvPr id="8" name="Textfeld 11">
            <a:extLst>
              <a:ext uri="{FF2B5EF4-FFF2-40B4-BE49-F238E27FC236}">
                <a16:creationId xmlns:a16="http://schemas.microsoft.com/office/drawing/2014/main" id="{B53A87F5-FEC6-0BE7-3AFA-431BCDB75506}"/>
              </a:ext>
            </a:extLst>
          </p:cNvPr>
          <p:cNvSpPr txBox="1"/>
          <p:nvPr/>
        </p:nvSpPr>
        <p:spPr>
          <a:xfrm>
            <a:off x="917606" y="3471444"/>
            <a:ext cx="6007451" cy="1058613"/>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a:endParaRPr lang="en-DE" sz="1200">
              <a:effectLst/>
              <a:latin typeface="Sofia Sans" panose="020B0604020202020204" charset="0"/>
            </a:endParaRPr>
          </a:p>
          <a:p>
            <a:pPr marL="144000" lvl="2" indent="-228600">
              <a:spcAft>
                <a:spcPts val="800"/>
              </a:spcAft>
              <a:buFont typeface="+mj-lt"/>
              <a:buAutoNum type="arabicPeriod"/>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Hydro (most reliable)</a:t>
            </a:r>
          </a:p>
          <a:p>
            <a:pPr marL="144000" lvl="2" indent="-228600">
              <a:spcAft>
                <a:spcPts val="800"/>
              </a:spcAft>
              <a:buFont typeface="+mj-lt"/>
              <a:buAutoNum type="arabicPeriod"/>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Wind</a:t>
            </a:r>
          </a:p>
          <a:p>
            <a:pPr marL="144000" lvl="2" indent="-228600">
              <a:spcAft>
                <a:spcPts val="800"/>
              </a:spcAft>
              <a:buFont typeface="+mj-lt"/>
              <a:buAutoNum type="arabicPeriod"/>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PV (least reliable)</a:t>
            </a:r>
            <a:endPar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5" name="Textfeld 11">
            <a:extLst>
              <a:ext uri="{FF2B5EF4-FFF2-40B4-BE49-F238E27FC236}">
                <a16:creationId xmlns:a16="http://schemas.microsoft.com/office/drawing/2014/main" id="{C4EA1FD3-C31C-8556-76F3-FF655BB0121F}"/>
              </a:ext>
            </a:extLst>
          </p:cNvPr>
          <p:cNvSpPr txBox="1"/>
          <p:nvPr/>
        </p:nvSpPr>
        <p:spPr>
          <a:xfrm>
            <a:off x="917605" y="5206408"/>
            <a:ext cx="6007451" cy="163213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1">
              <a:lnSpc>
                <a:spcPct val="115000"/>
              </a:lnSpc>
              <a:spcAft>
                <a:spcPts val="800"/>
              </a:spcAft>
              <a:buSzPts val="1000"/>
              <a:tabLst>
                <a:tab pos="9144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Surplus/deficit</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represents</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ver</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underproduction</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f</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of </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electricity in the grid.</a:t>
            </a:r>
            <a:endPar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1">
              <a:lnSpc>
                <a:spcPct val="115000"/>
              </a:lnSpc>
              <a:spcAft>
                <a:spcPts val="800"/>
              </a:spcAft>
              <a:buSzPts val="1000"/>
              <a:tabLst>
                <a:tab pos="9144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Formula: </a:t>
            </a:r>
            <a:r>
              <a:rPr lang="en-DE" sz="1200" b="1" kern="100">
                <a:solidFill>
                  <a:srgbClr val="FF0000"/>
                </a:solidFill>
                <a:effectLst/>
                <a:latin typeface="Sofia Sans" panose="020B0604020202020204" charset="0"/>
                <a:ea typeface="Aptos" panose="020B0004020202020204" pitchFamily="34" charset="0"/>
                <a:cs typeface="Times New Roman" panose="02020603050405020304" pitchFamily="18" charset="0"/>
              </a:rPr>
              <a:t>Surplus/Deficit = Demand - (PV + Wind + Hydro generation)</a:t>
            </a:r>
            <a:endParaRPr lang="de-DE" sz="1200" b="1" kern="100">
              <a:solidFill>
                <a:srgbClr val="FF0000"/>
              </a:solidFill>
              <a:latin typeface="Sofia Sans" panose="020B0604020202020204" charset="0"/>
              <a:ea typeface="Aptos" panose="020B0004020202020204" pitchFamily="34" charset="0"/>
              <a:cs typeface="Times New Roman" panose="02020603050405020304" pitchFamily="18" charset="0"/>
            </a:endParaRPr>
          </a:p>
          <a:p>
            <a:pPr marL="144000" lvl="1">
              <a:lnSpc>
                <a:spcPct val="115000"/>
              </a:lnSpc>
              <a:spcAft>
                <a:spcPts val="800"/>
              </a:spcAft>
              <a:buSzPts val="1000"/>
              <a:tabLst>
                <a:tab pos="9144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It is important because in a real grid, generation must always equal </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demand. Fluctuations in supply and demand require buffers to stabilize the grid.</a:t>
            </a:r>
          </a:p>
          <a:p>
            <a:pPr marL="144000" lvl="2" indent="-228600">
              <a:spcAft>
                <a:spcPts val="800"/>
              </a:spcAft>
              <a:buFont typeface="Arial" panose="020B0604020202020204" pitchFamily="34" charset="0"/>
              <a:buChar char="•"/>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2" name="Textfeld 1">
            <a:extLst>
              <a:ext uri="{FF2B5EF4-FFF2-40B4-BE49-F238E27FC236}">
                <a16:creationId xmlns:a16="http://schemas.microsoft.com/office/drawing/2014/main" id="{C3330CF6-5CED-8E19-DBA2-2C5F0DFB7E50}"/>
              </a:ext>
            </a:extLst>
          </p:cNvPr>
          <p:cNvSpPr txBox="1"/>
          <p:nvPr/>
        </p:nvSpPr>
        <p:spPr>
          <a:xfrm>
            <a:off x="738594" y="1295671"/>
            <a:ext cx="6037625" cy="276999"/>
          </a:xfrm>
          <a:prstGeom prst="rect">
            <a:avLst/>
          </a:prstGeom>
          <a:noFill/>
        </p:spPr>
        <p:txBody>
          <a:bodyPr wrap="square" rtlCol="0">
            <a:spAutoFit/>
          </a:bodyPr>
          <a:lstStyle/>
          <a:p>
            <a:pPr marL="144000"/>
            <a:r>
              <a:rPr lang="en-US" sz="1200">
                <a:latin typeface="Sofia Sans" panose="020B0604020202020204" charset="0"/>
              </a:rPr>
              <a:t>What can you tell about the electricity generation of PV, wind, and hydro?</a:t>
            </a:r>
          </a:p>
        </p:txBody>
      </p:sp>
      <p:sp>
        <p:nvSpPr>
          <p:cNvPr id="6" name="Textfeld 5">
            <a:extLst>
              <a:ext uri="{FF2B5EF4-FFF2-40B4-BE49-F238E27FC236}">
                <a16:creationId xmlns:a16="http://schemas.microsoft.com/office/drawing/2014/main" id="{62F1F15D-18F7-53DE-E6E5-79AE63CE48A8}"/>
              </a:ext>
            </a:extLst>
          </p:cNvPr>
          <p:cNvSpPr txBox="1"/>
          <p:nvPr/>
        </p:nvSpPr>
        <p:spPr>
          <a:xfrm>
            <a:off x="719138" y="2994769"/>
            <a:ext cx="6037625" cy="276999"/>
          </a:xfrm>
          <a:prstGeom prst="rect">
            <a:avLst/>
          </a:prstGeom>
          <a:noFill/>
        </p:spPr>
        <p:txBody>
          <a:bodyPr wrap="square" rtlCol="0">
            <a:spAutoFit/>
          </a:bodyPr>
          <a:lstStyle/>
          <a:p>
            <a:pPr marL="144000"/>
            <a:r>
              <a:rPr lang="en-US" sz="1200">
                <a:latin typeface="Sofia Sans" panose="020B0604020202020204" charset="0"/>
              </a:rPr>
              <a:t>Rank the reliability of the three renewable energy sources from highest to lowest.</a:t>
            </a:r>
          </a:p>
        </p:txBody>
      </p:sp>
      <p:sp>
        <p:nvSpPr>
          <p:cNvPr id="12" name="Textfeld 11">
            <a:extLst>
              <a:ext uri="{FF2B5EF4-FFF2-40B4-BE49-F238E27FC236}">
                <a16:creationId xmlns:a16="http://schemas.microsoft.com/office/drawing/2014/main" id="{FDF11AD1-7E5B-BEB7-DC13-70B145AE3BA6}"/>
              </a:ext>
            </a:extLst>
          </p:cNvPr>
          <p:cNvSpPr txBox="1"/>
          <p:nvPr/>
        </p:nvSpPr>
        <p:spPr>
          <a:xfrm>
            <a:off x="761025" y="4729733"/>
            <a:ext cx="6037625" cy="276999"/>
          </a:xfrm>
          <a:prstGeom prst="rect">
            <a:avLst/>
          </a:prstGeom>
          <a:noFill/>
        </p:spPr>
        <p:txBody>
          <a:bodyPr wrap="square" rtlCol="0">
            <a:spAutoFit/>
          </a:bodyPr>
          <a:lstStyle/>
          <a:p>
            <a:pPr marL="144000"/>
            <a:r>
              <a:rPr lang="en-US" sz="1200">
                <a:latin typeface="Sofia Sans" panose="020B0604020202020204" charset="0"/>
              </a:rPr>
              <a:t>What is surplus/deficit energy, and how is it calculated? Why is it important?</a:t>
            </a:r>
          </a:p>
        </p:txBody>
      </p:sp>
      <p:sp>
        <p:nvSpPr>
          <p:cNvPr id="13" name="Textfeld 12">
            <a:extLst>
              <a:ext uri="{FF2B5EF4-FFF2-40B4-BE49-F238E27FC236}">
                <a16:creationId xmlns:a16="http://schemas.microsoft.com/office/drawing/2014/main" id="{8A488968-A2C2-7455-6DB6-9732730F9456}"/>
              </a:ext>
            </a:extLst>
          </p:cNvPr>
          <p:cNvSpPr txBox="1"/>
          <p:nvPr/>
        </p:nvSpPr>
        <p:spPr>
          <a:xfrm>
            <a:off x="738594" y="6998158"/>
            <a:ext cx="6037625" cy="276999"/>
          </a:xfrm>
          <a:prstGeom prst="rect">
            <a:avLst/>
          </a:prstGeom>
          <a:noFill/>
        </p:spPr>
        <p:txBody>
          <a:bodyPr wrap="square" rtlCol="0">
            <a:spAutoFit/>
          </a:bodyPr>
          <a:lstStyle/>
          <a:p>
            <a:pPr marL="144000"/>
            <a:r>
              <a:rPr lang="en-US" sz="1200">
                <a:latin typeface="Sofia Sans" panose="020B0604020202020204" charset="0"/>
              </a:rPr>
              <a:t>What would you consider baseload and </a:t>
            </a:r>
            <a:r>
              <a:rPr lang="en-US" sz="1200" err="1">
                <a:latin typeface="Sofia Sans" panose="020B0604020202020204" charset="0"/>
              </a:rPr>
              <a:t>peakload</a:t>
            </a:r>
            <a:r>
              <a:rPr lang="en-US" sz="1200">
                <a:latin typeface="Sofia Sans" panose="020B0604020202020204" charset="0"/>
              </a:rPr>
              <a:t>  when looking at the whole week?</a:t>
            </a:r>
          </a:p>
        </p:txBody>
      </p:sp>
      <p:sp>
        <p:nvSpPr>
          <p:cNvPr id="14" name="Textfeld 11">
            <a:extLst>
              <a:ext uri="{FF2B5EF4-FFF2-40B4-BE49-F238E27FC236}">
                <a16:creationId xmlns:a16="http://schemas.microsoft.com/office/drawing/2014/main" id="{04CCE386-C4B6-28A9-6A01-3967C743F50B}"/>
              </a:ext>
            </a:extLst>
          </p:cNvPr>
          <p:cNvSpPr txBox="1"/>
          <p:nvPr/>
        </p:nvSpPr>
        <p:spPr>
          <a:xfrm>
            <a:off x="917604" y="7438271"/>
            <a:ext cx="6007451" cy="18283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1">
              <a:lnSpc>
                <a:spcPct val="115000"/>
              </a:lnSpc>
              <a:spcAft>
                <a:spcPts val="800"/>
              </a:spcAft>
              <a:buSzPts val="1000"/>
              <a:tabLst>
                <a:tab pos="914400" algn="l"/>
              </a:tabLst>
            </a:pP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Baseload</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is</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minimum</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level</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f</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electricity</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demand</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at</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is</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consistently</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required</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ver</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given</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period</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such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as</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day</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week</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r</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year</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in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grid</a:t>
            </a:r>
            <a:endPar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1">
              <a:lnSpc>
                <a:spcPct val="115000"/>
              </a:lnSpc>
              <a:spcAft>
                <a:spcPts val="800"/>
              </a:spcAft>
              <a:buSzPts val="1000"/>
              <a:tabLst>
                <a:tab pos="914400" algn="l"/>
              </a:tabLst>
            </a:pP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Here: Min. Demand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observed</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 105 MW</a:t>
            </a:r>
          </a:p>
          <a:p>
            <a:pPr marL="144000" lvl="1">
              <a:lnSpc>
                <a:spcPct val="115000"/>
              </a:lnSpc>
              <a:spcAft>
                <a:spcPts val="800"/>
              </a:spcAft>
              <a:buSzPts val="1000"/>
              <a:tabLst>
                <a:tab pos="914400" algn="l"/>
              </a:tabLst>
            </a:pP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P</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eakload</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referes</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to</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ighest</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level</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of</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electricity</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demand</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observed</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during</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specific</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period</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such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as</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day</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or</a:t>
            </a: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 a </a:t>
            </a:r>
            <a:r>
              <a:rPr lang="de-DE" sz="1200" kern="100" err="1">
                <a:solidFill>
                  <a:srgbClr val="FF0000"/>
                </a:solidFill>
                <a:latin typeface="Sofia Sans" panose="020B0604020202020204" charset="0"/>
                <a:ea typeface="Aptos" panose="020B0004020202020204" pitchFamily="34" charset="0"/>
                <a:cs typeface="Times New Roman" panose="02020603050405020304" pitchFamily="18" charset="0"/>
              </a:rPr>
              <a:t>week</a:t>
            </a:r>
            <a:endParaRPr lang="de-DE" sz="1200" kern="100">
              <a:solidFill>
                <a:srgbClr val="FF0000"/>
              </a:solidFill>
              <a:latin typeface="Sofia Sans" panose="020B0604020202020204" charset="0"/>
              <a:ea typeface="Aptos" panose="020B0004020202020204" pitchFamily="34" charset="0"/>
              <a:cs typeface="Times New Roman" panose="02020603050405020304" pitchFamily="18" charset="0"/>
            </a:endParaRPr>
          </a:p>
          <a:p>
            <a:pPr marL="144000" lvl="1">
              <a:lnSpc>
                <a:spcPct val="115000"/>
              </a:lnSpc>
              <a:spcAft>
                <a:spcPts val="800"/>
              </a:spcAft>
              <a:buSzPts val="1000"/>
              <a:tabLst>
                <a:tab pos="914400" algn="l"/>
              </a:tabLst>
            </a:pP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Here: Max Demand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observed</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 300 MW</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2" indent="-228600">
              <a:spcAft>
                <a:spcPts val="800"/>
              </a:spcAft>
              <a:buFont typeface="Arial" panose="020B0604020202020204" pitchFamily="34" charset="0"/>
              <a:buChar char="•"/>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0034919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DDAB0-EDE3-B068-6940-6AD8724C43F3}"/>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314E61E-3CE4-65FC-145C-6D1C33C958A4}"/>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75</a:t>
            </a:fld>
            <a:endParaRPr lang="de-DE"/>
          </a:p>
        </p:txBody>
      </p:sp>
      <p:sp>
        <p:nvSpPr>
          <p:cNvPr id="6" name="Textfeld 11">
            <a:extLst>
              <a:ext uri="{FF2B5EF4-FFF2-40B4-BE49-F238E27FC236}">
                <a16:creationId xmlns:a16="http://schemas.microsoft.com/office/drawing/2014/main" id="{6961CE1A-A454-DE57-1400-A97BFFDACCAE}"/>
              </a:ext>
            </a:extLst>
          </p:cNvPr>
          <p:cNvSpPr txBox="1"/>
          <p:nvPr/>
        </p:nvSpPr>
        <p:spPr>
          <a:xfrm>
            <a:off x="917608" y="3321928"/>
            <a:ext cx="6007451" cy="14256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a:solidFill>
                  <a:srgbClr val="FF0000"/>
                </a:solidFill>
                <a:effectLst/>
                <a:latin typeface="Sofia Sans" panose="020B0604020202020204" charset="0"/>
                <a:ea typeface="Aptos" panose="020B0004020202020204" pitchFamily="34" charset="0"/>
                <a:cs typeface="Times New Roman" panose="02020603050405020304" pitchFamily="18" charset="0"/>
              </a:rPr>
              <a:t>Without wind, the city faces a deficit in the evening because only PV and hydro are available.</a:t>
            </a:r>
            <a:endParaRPr lang="de-DE" sz="12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2">
              <a:lnSpc>
                <a:spcPct val="115000"/>
              </a:lnSpc>
              <a:spcAft>
                <a:spcPts val="800"/>
              </a:spcAft>
              <a:buSzPts val="1000"/>
              <a:tabLst>
                <a:tab pos="1371600" algn="l"/>
              </a:tabLst>
            </a:pP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Electricity</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Generation: 0 + 80 + 61 = 141 </a:t>
            </a:r>
          </a:p>
          <a:p>
            <a:pPr marL="144000" lvl="2">
              <a:lnSpc>
                <a:spcPct val="115000"/>
              </a:lnSpc>
              <a:spcAft>
                <a:spcPts val="800"/>
              </a:spcAft>
              <a:buSzPts val="1000"/>
              <a:tabLst>
                <a:tab pos="1371600" algn="l"/>
              </a:tabLst>
            </a:pPr>
            <a:r>
              <a:rPr lang="de-DE" sz="1200" kern="100">
                <a:solidFill>
                  <a:srgbClr val="FF0000"/>
                </a:solidFill>
                <a:latin typeface="Sofia Sans" panose="020B0604020202020204" charset="0"/>
                <a:ea typeface="Aptos" panose="020B0004020202020204" pitchFamily="34" charset="0"/>
                <a:cs typeface="Times New Roman" panose="02020603050405020304" pitchFamily="18" charset="0"/>
              </a:rPr>
              <a:t>Demand: 178</a:t>
            </a:r>
          </a:p>
          <a:p>
            <a:pPr marL="144000" lvl="2">
              <a:lnSpc>
                <a:spcPct val="115000"/>
              </a:lnSpc>
              <a:spcAft>
                <a:spcPts val="800"/>
              </a:spcAft>
              <a:buSzPts val="1000"/>
              <a:tabLst>
                <a:tab pos="1371600" algn="l"/>
              </a:tabLst>
            </a:pP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141 – 178 = -37</a:t>
            </a:r>
          </a:p>
          <a:p>
            <a:pPr marL="144000" lvl="2" indent="-228600">
              <a:lnSpc>
                <a:spcPct val="115000"/>
              </a:lnSpc>
              <a:spcAft>
                <a:spcPts val="800"/>
              </a:spcAft>
              <a:buSzPts val="1000"/>
              <a:buFont typeface="Wingdings" panose="05000000000000000000" pitchFamily="2" charset="2"/>
              <a:buChar char=""/>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2" indent="-171450">
              <a:lnSpc>
                <a:spcPct val="115000"/>
              </a:lnSpc>
              <a:spcAft>
                <a:spcPts val="800"/>
              </a:spcAft>
              <a:buSzPts val="1000"/>
              <a:buFont typeface="Courier New" panose="02070309020205020404" pitchFamily="49" charset="0"/>
              <a:buChar char="o"/>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9" name="Untertitel 5">
            <a:extLst>
              <a:ext uri="{FF2B5EF4-FFF2-40B4-BE49-F238E27FC236}">
                <a16:creationId xmlns:a16="http://schemas.microsoft.com/office/drawing/2014/main" id="{F5A0DB70-16C6-BC44-37AC-AB8A67BB56C4}"/>
              </a:ext>
            </a:extLst>
          </p:cNvPr>
          <p:cNvSpPr txBox="1">
            <a:spLocks/>
          </p:cNvSpPr>
          <p:nvPr/>
        </p:nvSpPr>
        <p:spPr>
          <a:xfrm>
            <a:off x="746134" y="1298876"/>
            <a:ext cx="150304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2 - Tuesday</a:t>
            </a:r>
          </a:p>
        </p:txBody>
      </p:sp>
      <p:sp>
        <p:nvSpPr>
          <p:cNvPr id="10" name="Untertitel 3">
            <a:extLst>
              <a:ext uri="{FF2B5EF4-FFF2-40B4-BE49-F238E27FC236}">
                <a16:creationId xmlns:a16="http://schemas.microsoft.com/office/drawing/2014/main" id="{7F39B296-F047-DC6F-8A54-48FE99849F71}"/>
              </a:ext>
            </a:extLst>
          </p:cNvPr>
          <p:cNvSpPr txBox="1">
            <a:spLocks/>
          </p:cNvSpPr>
          <p:nvPr/>
        </p:nvSpPr>
        <p:spPr>
          <a:xfrm>
            <a:off x="737676" y="1779190"/>
            <a:ext cx="6098942" cy="103182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lvl="0" indent="0">
              <a:lnSpc>
                <a:spcPct val="115000"/>
              </a:lnSpc>
              <a:spcAft>
                <a:spcPts val="800"/>
              </a:spcAft>
              <a:buClr>
                <a:schemeClr val="accent5"/>
              </a:buClr>
              <a:buSzPct val="121000"/>
              <a:tabLst>
                <a:tab pos="457200" algn="l"/>
              </a:tabLst>
            </a:pPr>
            <a:r>
              <a:rPr lang="de-DE" sz="1200" kern="100">
                <a:effectLst/>
                <a:latin typeface="Sofia Sans" panose="020B0604020202020204" charset="0"/>
                <a:ea typeface="Aptos" panose="020B0004020202020204" pitchFamily="34" charset="0"/>
                <a:cs typeface="Times New Roman" panose="02020603050405020304" pitchFamily="18" charset="0"/>
              </a:rPr>
              <a:t>a. </a:t>
            </a:r>
            <a:r>
              <a:rPr lang="de-DE" sz="1200" kern="100" err="1">
                <a:effectLst/>
                <a:latin typeface="Sofia Sans" panose="020B0604020202020204" charset="0"/>
                <a:ea typeface="Aptos" panose="020B0004020202020204" pitchFamily="34" charset="0"/>
                <a:cs typeface="Times New Roman" panose="02020603050405020304" pitchFamily="18" charset="0"/>
              </a:rPr>
              <a:t>Calculate</a:t>
            </a:r>
            <a:r>
              <a:rPr lang="de-DE" sz="1200" kern="100">
                <a:effectLst/>
                <a:latin typeface="Sofia Sans" panose="020B0604020202020204" charset="0"/>
                <a:ea typeface="Aptos" panose="020B0004020202020204" pitchFamily="34" charset="0"/>
                <a:cs typeface="Times New Roman" panose="02020603050405020304" pitchFamily="18" charset="0"/>
              </a:rPr>
              <a:t> </a:t>
            </a:r>
            <a:r>
              <a:rPr lang="en-DE" sz="1200" kern="100">
                <a:effectLst/>
                <a:latin typeface="Sofia Sans" panose="020B0604020202020204" charset="0"/>
                <a:ea typeface="Aptos" panose="020B0004020202020204" pitchFamily="34" charset="0"/>
                <a:cs typeface="Times New Roman" panose="02020603050405020304" pitchFamily="18" charset="0"/>
              </a:rPr>
              <a:t>the surplus/deficit energy during the evening (16:00-24:00)?</a:t>
            </a:r>
            <a:r>
              <a:rPr lang="de-DE" sz="1200" kern="100">
                <a:effectLst/>
                <a:latin typeface="Sofia Sans" panose="020B0604020202020204" charset="0"/>
                <a:ea typeface="Aptos" panose="020B0004020202020204" pitchFamily="34" charset="0"/>
                <a:cs typeface="Times New Roman" panose="02020603050405020304" pitchFamily="18" charset="0"/>
              </a:rPr>
              <a:t> </a:t>
            </a:r>
          </a:p>
          <a:p>
            <a:pPr marL="144000" lvl="0" indent="0">
              <a:lnSpc>
                <a:spcPct val="115000"/>
              </a:lnSpc>
              <a:spcAft>
                <a:spcPts val="800"/>
              </a:spcAft>
              <a:buClr>
                <a:schemeClr val="accent5"/>
              </a:buClr>
              <a:buSzPct val="121000"/>
              <a:tabLst>
                <a:tab pos="457200" algn="l"/>
              </a:tabLst>
            </a:pPr>
            <a:r>
              <a:rPr lang="de-DE" sz="1200" kern="100">
                <a:effectLst/>
                <a:latin typeface="Sofia Sans" panose="020B0604020202020204" charset="0"/>
                <a:ea typeface="Aptos" panose="020B0004020202020204" pitchFamily="34" charset="0"/>
                <a:cs typeface="Times New Roman" panose="02020603050405020304" pitchFamily="18" charset="0"/>
              </a:rPr>
              <a:t>b. </a:t>
            </a:r>
            <a:r>
              <a:rPr lang="en-DE" sz="1200" kern="100">
                <a:effectLst/>
                <a:latin typeface="Sofia Sans" panose="020B0604020202020204" charset="0"/>
                <a:ea typeface="Aptos" panose="020B0004020202020204" pitchFamily="34" charset="0"/>
                <a:cs typeface="Times New Roman" panose="02020603050405020304" pitchFamily="18" charset="0"/>
              </a:rPr>
              <a:t>How would you handle a deficit in the energy grid? What could you do in this situation to avoid a blackout due to a deficit in the evening?</a:t>
            </a:r>
            <a:endParaRPr lang="en-US" sz="1200">
              <a:solidFill>
                <a:schemeClr val="tx1">
                  <a:lumMod val="50000"/>
                </a:schemeClr>
              </a:solidFill>
              <a:latin typeface="Sofia Sans" panose="020B0604020202020204" charset="0"/>
            </a:endParaRPr>
          </a:p>
          <a:p>
            <a:pPr marL="144000" indent="0" algn="l"/>
            <a:endParaRPr lang="en-US" sz="1200" b="0" i="0">
              <a:solidFill>
                <a:schemeClr val="tx1">
                  <a:lumMod val="50000"/>
                </a:schemeClr>
              </a:solidFill>
              <a:effectLst/>
              <a:latin typeface="Sofia Sans" panose="020B0604020202020204" charset="0"/>
            </a:endParaRPr>
          </a:p>
        </p:txBody>
      </p:sp>
      <p:sp>
        <p:nvSpPr>
          <p:cNvPr id="16" name="Textfeld 15">
            <a:extLst>
              <a:ext uri="{FF2B5EF4-FFF2-40B4-BE49-F238E27FC236}">
                <a16:creationId xmlns:a16="http://schemas.microsoft.com/office/drawing/2014/main" id="{0D7DDA8A-2CE3-98AE-59EE-E195BBDC6BA1}"/>
              </a:ext>
            </a:extLst>
          </p:cNvPr>
          <p:cNvSpPr txBox="1"/>
          <p:nvPr/>
        </p:nvSpPr>
        <p:spPr>
          <a:xfrm>
            <a:off x="738594" y="2860347"/>
            <a:ext cx="6037625" cy="276999"/>
          </a:xfrm>
          <a:prstGeom prst="rect">
            <a:avLst/>
          </a:prstGeom>
          <a:noFill/>
        </p:spPr>
        <p:txBody>
          <a:bodyPr wrap="square" rtlCol="0">
            <a:spAutoFit/>
          </a:bodyPr>
          <a:lstStyle/>
          <a:p>
            <a:pPr marL="144000"/>
            <a:r>
              <a:rPr lang="en-US" sz="1200">
                <a:latin typeface="Sofia Sans" panose="020B0604020202020204" charset="0"/>
              </a:rPr>
              <a:t>a) Calculate the surplus/deficit energy during the evening (16:00-24:00)? </a:t>
            </a:r>
          </a:p>
        </p:txBody>
      </p:sp>
      <p:sp>
        <p:nvSpPr>
          <p:cNvPr id="17" name="Textfeld 16">
            <a:extLst>
              <a:ext uri="{FF2B5EF4-FFF2-40B4-BE49-F238E27FC236}">
                <a16:creationId xmlns:a16="http://schemas.microsoft.com/office/drawing/2014/main" id="{D726694E-34FA-EA40-6D80-A571918B7FB0}"/>
              </a:ext>
            </a:extLst>
          </p:cNvPr>
          <p:cNvSpPr txBox="1"/>
          <p:nvPr/>
        </p:nvSpPr>
        <p:spPr>
          <a:xfrm>
            <a:off x="738594" y="4893436"/>
            <a:ext cx="6037625" cy="461665"/>
          </a:xfrm>
          <a:prstGeom prst="rect">
            <a:avLst/>
          </a:prstGeom>
          <a:noFill/>
        </p:spPr>
        <p:txBody>
          <a:bodyPr wrap="square" rtlCol="0">
            <a:spAutoFit/>
          </a:bodyPr>
          <a:lstStyle/>
          <a:p>
            <a:pPr marL="144000"/>
            <a:r>
              <a:rPr lang="en-US" sz="1200">
                <a:latin typeface="Sofia Sans" panose="020B0604020202020204" charset="0"/>
              </a:rPr>
              <a:t>b) How would you handle a </a:t>
            </a:r>
            <a:r>
              <a:rPr lang="en-US" sz="1200" err="1">
                <a:latin typeface="Sofia Sans" panose="020B0604020202020204" charset="0"/>
              </a:rPr>
              <a:t>deficite</a:t>
            </a:r>
            <a:r>
              <a:rPr lang="en-US" sz="1200">
                <a:latin typeface="Sofia Sans" panose="020B0604020202020204" charset="0"/>
              </a:rPr>
              <a:t> in the energy grid? What could you do in this situation to avoid a blackout due to a </a:t>
            </a:r>
            <a:r>
              <a:rPr lang="en-US" sz="1200" err="1">
                <a:latin typeface="Sofia Sans" panose="020B0604020202020204" charset="0"/>
              </a:rPr>
              <a:t>deficite</a:t>
            </a:r>
            <a:r>
              <a:rPr lang="en-US" sz="1200">
                <a:latin typeface="Sofia Sans" panose="020B0604020202020204" charset="0"/>
              </a:rPr>
              <a:t> in the evening?</a:t>
            </a:r>
          </a:p>
        </p:txBody>
      </p:sp>
      <p:sp>
        <p:nvSpPr>
          <p:cNvPr id="18" name="Textfeld 11">
            <a:extLst>
              <a:ext uri="{FF2B5EF4-FFF2-40B4-BE49-F238E27FC236}">
                <a16:creationId xmlns:a16="http://schemas.microsoft.com/office/drawing/2014/main" id="{E05DA1E4-76BE-6DA4-F462-D4BD472C6FE9}"/>
              </a:ext>
            </a:extLst>
          </p:cNvPr>
          <p:cNvSpPr txBox="1"/>
          <p:nvPr/>
        </p:nvSpPr>
        <p:spPr>
          <a:xfrm>
            <a:off x="917608" y="5528304"/>
            <a:ext cx="6007451" cy="1673390"/>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Use stored energy from batteries to supply the grid.</a:t>
            </a: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Import electricity from neighboring regions or grids.</a:t>
            </a: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Implement demand-side management to encourage reduced energy use during peak hours.</a:t>
            </a: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Shift flexible loads, like charging electric vehicles, to times of surplus generation earlier in the day.</a:t>
            </a:r>
          </a:p>
        </p:txBody>
      </p:sp>
      <p:sp>
        <p:nvSpPr>
          <p:cNvPr id="19" name="Untertitel 5">
            <a:extLst>
              <a:ext uri="{FF2B5EF4-FFF2-40B4-BE49-F238E27FC236}">
                <a16:creationId xmlns:a16="http://schemas.microsoft.com/office/drawing/2014/main" id="{5F1E29A9-0C94-A979-2BCE-ABD7FAE30498}"/>
              </a:ext>
            </a:extLst>
          </p:cNvPr>
          <p:cNvSpPr txBox="1">
            <a:spLocks/>
          </p:cNvSpPr>
          <p:nvPr/>
        </p:nvSpPr>
        <p:spPr>
          <a:xfrm>
            <a:off x="737674" y="7311547"/>
            <a:ext cx="1979399"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3 - Wednesday</a:t>
            </a:r>
          </a:p>
        </p:txBody>
      </p:sp>
      <p:sp>
        <p:nvSpPr>
          <p:cNvPr id="20" name="Textfeld 19">
            <a:extLst>
              <a:ext uri="{FF2B5EF4-FFF2-40B4-BE49-F238E27FC236}">
                <a16:creationId xmlns:a16="http://schemas.microsoft.com/office/drawing/2014/main" id="{A3B311A9-F133-0241-5006-802D00A3A80F}"/>
              </a:ext>
            </a:extLst>
          </p:cNvPr>
          <p:cNvSpPr txBox="1"/>
          <p:nvPr/>
        </p:nvSpPr>
        <p:spPr>
          <a:xfrm>
            <a:off x="979392" y="8223106"/>
            <a:ext cx="5765733" cy="70451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a:solidFill>
                  <a:srgbClr val="FF0000"/>
                </a:solidFill>
                <a:effectLst/>
                <a:latin typeface="Sofia Sans" panose="020B0604020202020204" charset="0"/>
                <a:ea typeface="Aptos" panose="020B0004020202020204" pitchFamily="34" charset="0"/>
                <a:cs typeface="Times New Roman" panose="02020603050405020304" pitchFamily="18" charset="0"/>
              </a:rPr>
              <a:t>Demand increases significantly due to the festival, especially in the</a:t>
            </a:r>
            <a:r>
              <a:rPr lang="de-DE" sz="12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en-DE" sz="1200">
                <a:solidFill>
                  <a:srgbClr val="FF0000"/>
                </a:solidFill>
                <a:effectLst/>
                <a:latin typeface="Sofia Sans" panose="020B0604020202020204" charset="0"/>
                <a:ea typeface="Aptos" panose="020B0004020202020204" pitchFamily="34" charset="0"/>
                <a:cs typeface="Times New Roman" panose="02020603050405020304" pitchFamily="18" charset="0"/>
              </a:rPr>
              <a:t>evening when many activities are taking place</a:t>
            </a: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21" name="Textfeld 20">
            <a:extLst>
              <a:ext uri="{FF2B5EF4-FFF2-40B4-BE49-F238E27FC236}">
                <a16:creationId xmlns:a16="http://schemas.microsoft.com/office/drawing/2014/main" id="{120CEB12-F58D-AB04-E8A5-003B0757BB37}"/>
              </a:ext>
            </a:extLst>
          </p:cNvPr>
          <p:cNvSpPr txBox="1"/>
          <p:nvPr/>
        </p:nvSpPr>
        <p:spPr>
          <a:xfrm>
            <a:off x="737675" y="7726341"/>
            <a:ext cx="5915126" cy="276999"/>
          </a:xfrm>
          <a:prstGeom prst="rect">
            <a:avLst/>
          </a:prstGeom>
          <a:noFill/>
        </p:spPr>
        <p:txBody>
          <a:bodyPr wrap="square" rtlCol="0">
            <a:spAutoFit/>
          </a:bodyPr>
          <a:lstStyle/>
          <a:p>
            <a:pPr marL="144000"/>
            <a:r>
              <a:rPr lang="en-US" sz="1200">
                <a:latin typeface="Sofia Sans" panose="020B0604020202020204" charset="0"/>
              </a:rPr>
              <a:t>What happens to the demand during the street festival in town?</a:t>
            </a:r>
          </a:p>
        </p:txBody>
      </p:sp>
    </p:spTree>
    <p:extLst>
      <p:ext uri="{BB962C8B-B14F-4D97-AF65-F5344CB8AC3E}">
        <p14:creationId xmlns:p14="http://schemas.microsoft.com/office/powerpoint/2010/main" val="34863271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BBD0E-D0EA-EF11-D533-826D2954563E}"/>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6092A46F-8891-0D4A-04EE-F819E2A03D58}"/>
              </a:ext>
            </a:extLst>
          </p:cNvPr>
          <p:cNvSpPr>
            <a:spLocks noGrp="1"/>
          </p:cNvSpPr>
          <p:nvPr>
            <p:ph type="sldNum" sz="quarter" idx="16"/>
          </p:nvPr>
        </p:nvSpPr>
        <p:spPr>
          <a:xfrm>
            <a:off x="5338763" y="9441333"/>
            <a:ext cx="1701800" cy="569913"/>
          </a:xfrm>
        </p:spPr>
        <p:txBody>
          <a:bodyPr/>
          <a:lstStyle/>
          <a:p>
            <a:fld id="{DF7F771E-9578-4C04-B869-01AF4C35C90C}" type="slidenum">
              <a:rPr lang="de-DE" smtClean="0"/>
              <a:t>76</a:t>
            </a:fld>
            <a:endParaRPr lang="de-DE"/>
          </a:p>
        </p:txBody>
      </p:sp>
      <p:sp>
        <p:nvSpPr>
          <p:cNvPr id="11" name="Textfeld 10">
            <a:extLst>
              <a:ext uri="{FF2B5EF4-FFF2-40B4-BE49-F238E27FC236}">
                <a16:creationId xmlns:a16="http://schemas.microsoft.com/office/drawing/2014/main" id="{B6EBF77B-4382-5EAA-8AFB-024046B88FF9}"/>
              </a:ext>
            </a:extLst>
          </p:cNvPr>
          <p:cNvSpPr txBox="1"/>
          <p:nvPr/>
        </p:nvSpPr>
        <p:spPr>
          <a:xfrm>
            <a:off x="980311" y="1731809"/>
            <a:ext cx="5765733" cy="144325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a:solidFill>
                  <a:srgbClr val="FF0000"/>
                </a:solidFill>
                <a:latin typeface="Sofia Sans" panose="020B0604020202020204" charset="0"/>
                <a:cs typeface="Times New Roman" panose="02020603050405020304" pitchFamily="18" charset="0"/>
              </a:rPr>
              <a:t>The energy demand is almost equal to the generation, resulting in only a minor deficit due to the sunny weather.</a:t>
            </a:r>
            <a:r>
              <a:rPr lang="de-DE" sz="1200">
                <a:solidFill>
                  <a:srgbClr val="FF0000"/>
                </a:solidFill>
                <a:latin typeface="Sofia Sans" panose="020B0604020202020204" charset="0"/>
                <a:cs typeface="Times New Roman" panose="02020603050405020304" pitchFamily="18" charset="0"/>
              </a:rPr>
              <a:t> </a:t>
            </a:r>
          </a:p>
          <a:p>
            <a:pPr marL="144000" lvl="2">
              <a:lnSpc>
                <a:spcPct val="115000"/>
              </a:lnSpc>
              <a:spcAft>
                <a:spcPts val="800"/>
              </a:spcAft>
              <a:buSzPts val="1000"/>
              <a:tabLst>
                <a:tab pos="1371600" algn="l"/>
              </a:tabLst>
            </a:pPr>
            <a:r>
              <a:rPr lang="de-DE" sz="1200">
                <a:solidFill>
                  <a:srgbClr val="FF0000"/>
                </a:solidFill>
                <a:latin typeface="Sofia Sans" panose="020B0604020202020204" charset="0"/>
                <a:cs typeface="Times New Roman" panose="02020603050405020304" pitchFamily="18" charset="0"/>
              </a:rPr>
              <a:t>Generation = 51 + 60 + 180 =  291</a:t>
            </a:r>
          </a:p>
          <a:p>
            <a:pPr marL="144000" lvl="2">
              <a:lnSpc>
                <a:spcPct val="115000"/>
              </a:lnSpc>
              <a:spcAft>
                <a:spcPts val="800"/>
              </a:spcAft>
              <a:buSzPts val="1000"/>
              <a:tabLst>
                <a:tab pos="1371600" algn="l"/>
              </a:tabLst>
            </a:pPr>
            <a:r>
              <a:rPr lang="de-DE" sz="1200">
                <a:solidFill>
                  <a:srgbClr val="FF0000"/>
                </a:solidFill>
                <a:latin typeface="Sofia Sans" panose="020B0604020202020204" charset="0"/>
                <a:cs typeface="Times New Roman" panose="02020603050405020304" pitchFamily="18" charset="0"/>
              </a:rPr>
              <a:t>Demand = 300</a:t>
            </a:r>
          </a:p>
          <a:p>
            <a:pPr marL="144000" lvl="2">
              <a:lnSpc>
                <a:spcPct val="115000"/>
              </a:lnSpc>
              <a:spcAft>
                <a:spcPts val="800"/>
              </a:spcAft>
              <a:buSzPts val="1000"/>
              <a:tabLst>
                <a:tab pos="1371600" algn="l"/>
              </a:tabLst>
            </a:pPr>
            <a:r>
              <a:rPr lang="de-DE" sz="1200" err="1">
                <a:solidFill>
                  <a:srgbClr val="FF0000"/>
                </a:solidFill>
                <a:latin typeface="Sofia Sans" panose="020B0604020202020204" charset="0"/>
                <a:cs typeface="Times New Roman" panose="02020603050405020304" pitchFamily="18" charset="0"/>
              </a:rPr>
              <a:t>Deficit</a:t>
            </a:r>
            <a:r>
              <a:rPr lang="de-DE" sz="1200">
                <a:solidFill>
                  <a:srgbClr val="FF0000"/>
                </a:solidFill>
                <a:latin typeface="Sofia Sans" panose="020B0604020202020204" charset="0"/>
                <a:cs typeface="Times New Roman" panose="02020603050405020304" pitchFamily="18" charset="0"/>
              </a:rPr>
              <a:t> = 291- 300 = -9 </a:t>
            </a:r>
          </a:p>
          <a:p>
            <a:pPr marL="144000" lvl="1" indent="-285750">
              <a:spcAft>
                <a:spcPts val="800"/>
              </a:spcAft>
              <a:buSzPts val="1000"/>
              <a:buFont typeface="+mj-lt"/>
              <a:buAutoNum type="arabicPeriod"/>
              <a:tabLst>
                <a:tab pos="9144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12" name="Textfeld 11">
            <a:extLst>
              <a:ext uri="{FF2B5EF4-FFF2-40B4-BE49-F238E27FC236}">
                <a16:creationId xmlns:a16="http://schemas.microsoft.com/office/drawing/2014/main" id="{71272A1D-4C6F-0916-B581-404475DE665F}"/>
              </a:ext>
            </a:extLst>
          </p:cNvPr>
          <p:cNvSpPr txBox="1"/>
          <p:nvPr/>
        </p:nvSpPr>
        <p:spPr>
          <a:xfrm>
            <a:off x="928879" y="4008244"/>
            <a:ext cx="5814983" cy="153229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1">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Implement demand-side management, such as encouraging citizens to reduce non-essential electricity use during peak hours.</a:t>
            </a: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Use imports from neighboring grids to cover the small deficit.</a:t>
            </a: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Shift flexible energy demand (e.g</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urning</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on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dishwasher</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charging</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a:t>
            </a:r>
            <a:r>
              <a:rPr lang="de-DE" sz="1200" kern="100" err="1">
                <a:solidFill>
                  <a:srgbClr val="FF0000"/>
                </a:solidFill>
                <a:effectLst/>
                <a:latin typeface="Sofia Sans" panose="020B0604020202020204" charset="0"/>
                <a:ea typeface="Aptos" panose="020B0004020202020204" pitchFamily="34" charset="0"/>
                <a:cs typeface="Times New Roman" panose="02020603050405020304" pitchFamily="18" charset="0"/>
              </a:rPr>
              <a:t>the</a:t>
            </a:r>
            <a:r>
              <a:rPr lang="de-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EV … </a:t>
            </a: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to midday when generation is higher.</a:t>
            </a:r>
          </a:p>
        </p:txBody>
      </p:sp>
      <p:sp>
        <p:nvSpPr>
          <p:cNvPr id="17" name="Textfeld 16">
            <a:extLst>
              <a:ext uri="{FF2B5EF4-FFF2-40B4-BE49-F238E27FC236}">
                <a16:creationId xmlns:a16="http://schemas.microsoft.com/office/drawing/2014/main" id="{B51B1297-604B-81DE-B9F6-8B664682458B}"/>
              </a:ext>
            </a:extLst>
          </p:cNvPr>
          <p:cNvSpPr txBox="1"/>
          <p:nvPr/>
        </p:nvSpPr>
        <p:spPr>
          <a:xfrm>
            <a:off x="738594" y="1291158"/>
            <a:ext cx="5915126" cy="276999"/>
          </a:xfrm>
          <a:prstGeom prst="rect">
            <a:avLst/>
          </a:prstGeom>
          <a:noFill/>
        </p:spPr>
        <p:txBody>
          <a:bodyPr wrap="square" rtlCol="0">
            <a:spAutoFit/>
          </a:bodyPr>
          <a:lstStyle/>
          <a:p>
            <a:pPr marL="144000"/>
            <a:r>
              <a:rPr lang="en-US" sz="1200">
                <a:latin typeface="Sofia Sans" panose="020B0604020202020204" charset="0"/>
              </a:rPr>
              <a:t>How does the surplus/deficit look during this period?</a:t>
            </a:r>
          </a:p>
        </p:txBody>
      </p:sp>
      <p:sp>
        <p:nvSpPr>
          <p:cNvPr id="18" name="Textfeld 17">
            <a:extLst>
              <a:ext uri="{FF2B5EF4-FFF2-40B4-BE49-F238E27FC236}">
                <a16:creationId xmlns:a16="http://schemas.microsoft.com/office/drawing/2014/main" id="{F82F3346-4EED-1D50-9415-406C448DEC47}"/>
              </a:ext>
            </a:extLst>
          </p:cNvPr>
          <p:cNvSpPr txBox="1"/>
          <p:nvPr/>
        </p:nvSpPr>
        <p:spPr>
          <a:xfrm>
            <a:off x="719138" y="3411926"/>
            <a:ext cx="5809900" cy="461665"/>
          </a:xfrm>
          <a:prstGeom prst="rect">
            <a:avLst/>
          </a:prstGeom>
          <a:noFill/>
        </p:spPr>
        <p:txBody>
          <a:bodyPr wrap="square" rtlCol="0">
            <a:spAutoFit/>
          </a:bodyPr>
          <a:lstStyle/>
          <a:p>
            <a:pPr marL="144000"/>
            <a:r>
              <a:rPr lang="en-US" sz="1200">
                <a:latin typeface="Sofia Sans" panose="020B0604020202020204" charset="0"/>
              </a:rPr>
              <a:t>How can you handle this deficit without being able to produce more energy or use storage?</a:t>
            </a:r>
          </a:p>
        </p:txBody>
      </p:sp>
      <p:sp>
        <p:nvSpPr>
          <p:cNvPr id="24" name="Textfeld 23">
            <a:extLst>
              <a:ext uri="{FF2B5EF4-FFF2-40B4-BE49-F238E27FC236}">
                <a16:creationId xmlns:a16="http://schemas.microsoft.com/office/drawing/2014/main" id="{8E04D0C4-5626-EC5F-7EC3-4600A600C6DA}"/>
              </a:ext>
            </a:extLst>
          </p:cNvPr>
          <p:cNvSpPr txBox="1"/>
          <p:nvPr/>
        </p:nvSpPr>
        <p:spPr>
          <a:xfrm>
            <a:off x="928879" y="6600348"/>
            <a:ext cx="5814983" cy="184755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buSzPts val="1000"/>
              <a:tabLst>
                <a:tab pos="1371600" algn="l"/>
              </a:tabLst>
            </a:pPr>
            <a:r>
              <a:rPr lang="en-DE" sz="1200" b="1" kern="100">
                <a:solidFill>
                  <a:srgbClr val="FF0000"/>
                </a:solidFill>
                <a:effectLst/>
                <a:latin typeface="Sofia Sans"/>
                <a:ea typeface="Aptos" panose="020B0004020202020204" pitchFamily="34" charset="0"/>
                <a:cs typeface="Times New Roman"/>
              </a:rPr>
              <a:t>Thursday:</a:t>
            </a:r>
            <a:endParaRPr lang="de-DE" sz="1200" b="1" kern="100">
              <a:solidFill>
                <a:srgbClr val="FF0000"/>
              </a:solidFill>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Morning: Demand = 120, Generation (PV + Wind + Hydro) = 200 → Surplus = 200 - 120 = 80 units.</a:t>
            </a:r>
            <a:endParaRPr lang="de-DE" sz="1200" kern="100">
              <a:solidFill>
                <a:srgbClr val="FF0000"/>
              </a:solidFill>
              <a:effectLst/>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Midday: Demand = 250, Generation = 320 → Surplus = 320 - 250 = 70 units.</a:t>
            </a:r>
            <a:endParaRPr lang="de-DE" sz="1200" kern="100">
              <a:solidFill>
                <a:srgbClr val="FF0000"/>
              </a:solidFill>
              <a:effectLst/>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Evening: Demand = 150, Generation = 310 → Surplus = 310 - 150 = 160 units.</a:t>
            </a:r>
          </a:p>
          <a:p>
            <a:pPr marL="144000" lvl="2">
              <a:buSzPts val="1000"/>
              <a:tabLst>
                <a:tab pos="1371600" algn="l"/>
              </a:tabLst>
            </a:pPr>
            <a:r>
              <a:rPr lang="en-DE" sz="1200" b="1" kern="100">
                <a:solidFill>
                  <a:srgbClr val="FF0000"/>
                </a:solidFill>
                <a:effectLst/>
                <a:latin typeface="Sofia Sans"/>
                <a:ea typeface="Aptos" panose="020B0004020202020204" pitchFamily="34" charset="0"/>
                <a:cs typeface="Times New Roman"/>
              </a:rPr>
              <a:t>Friday:</a:t>
            </a:r>
            <a:endParaRPr lang="de-DE" sz="1200" b="1" kern="100">
              <a:solidFill>
                <a:srgbClr val="FF0000"/>
              </a:solidFill>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Morning: Demand = 117, Generation = 90 → Deficit = 117 - 90 = 27 units.</a:t>
            </a:r>
            <a:endParaRPr lang="de-DE" sz="1200" kern="100">
              <a:solidFill>
                <a:srgbClr val="FF0000"/>
              </a:solidFill>
              <a:effectLst/>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Midday: Demand = 275, Generation = 200 → Deficit = 275 - 200 = 75 units.</a:t>
            </a:r>
            <a:endParaRPr lang="de-DE" sz="1200" kern="100">
              <a:solidFill>
                <a:srgbClr val="FF0000"/>
              </a:solidFill>
              <a:effectLst/>
              <a:latin typeface="Sofia Sans"/>
              <a:ea typeface="Aptos" panose="020B0004020202020204" pitchFamily="34" charset="0"/>
              <a:cs typeface="Times New Roman"/>
            </a:endParaRPr>
          </a:p>
          <a:p>
            <a:pPr marL="144000" lvl="2">
              <a:buSzPts val="1000"/>
              <a:tabLst>
                <a:tab pos="1371600" algn="l"/>
              </a:tabLst>
            </a:pPr>
            <a:r>
              <a:rPr lang="en-DE" sz="1200" kern="100">
                <a:solidFill>
                  <a:srgbClr val="FF0000"/>
                </a:solidFill>
                <a:effectLst/>
                <a:latin typeface="Sofia Sans"/>
                <a:ea typeface="Aptos" panose="020B0004020202020204" pitchFamily="34" charset="0"/>
                <a:cs typeface="Times New Roman"/>
              </a:rPr>
              <a:t>Evening: Demand = 166, Generation = 120 → Deficit = 166 - 120 = 46 units.</a:t>
            </a:r>
          </a:p>
          <a:p>
            <a:pPr marL="144000" lvl="2" indent="-228600">
              <a:buSzPts val="1000"/>
              <a:buFont typeface="Wingdings" panose="05000000000000000000" pitchFamily="2" charset="2"/>
              <a:buChar char=""/>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a:p>
            <a:pPr marL="144000" lvl="2" indent="-171450">
              <a:buSzPts val="1000"/>
              <a:buFont typeface="Courier New" panose="02070309020205020404" pitchFamily="49" charset="0"/>
              <a:buChar char="o"/>
              <a:tabLst>
                <a:tab pos="1371600" algn="l"/>
              </a:tabLst>
            </a:pPr>
            <a:endPar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endParaRPr>
          </a:p>
        </p:txBody>
      </p:sp>
      <p:sp>
        <p:nvSpPr>
          <p:cNvPr id="25" name="Untertitel 5">
            <a:extLst>
              <a:ext uri="{FF2B5EF4-FFF2-40B4-BE49-F238E27FC236}">
                <a16:creationId xmlns:a16="http://schemas.microsoft.com/office/drawing/2014/main" id="{00B287A0-69A8-EAB5-3994-6A24723C5EE1}"/>
              </a:ext>
            </a:extLst>
          </p:cNvPr>
          <p:cNvSpPr txBox="1">
            <a:spLocks/>
          </p:cNvSpPr>
          <p:nvPr/>
        </p:nvSpPr>
        <p:spPr>
          <a:xfrm>
            <a:off x="738594" y="5678426"/>
            <a:ext cx="265901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Task 4 – </a:t>
            </a:r>
            <a:r>
              <a:rPr lang="de-DE" sz="1200" err="1">
                <a:solidFill>
                  <a:schemeClr val="accent5"/>
                </a:solidFill>
              </a:rPr>
              <a:t>Thursday</a:t>
            </a:r>
            <a:r>
              <a:rPr lang="de-DE" sz="1200">
                <a:solidFill>
                  <a:schemeClr val="accent5"/>
                </a:solidFill>
              </a:rPr>
              <a:t> &amp; Friday</a:t>
            </a:r>
          </a:p>
        </p:txBody>
      </p:sp>
      <p:sp>
        <p:nvSpPr>
          <p:cNvPr id="26" name="Textfeld 25">
            <a:extLst>
              <a:ext uri="{FF2B5EF4-FFF2-40B4-BE49-F238E27FC236}">
                <a16:creationId xmlns:a16="http://schemas.microsoft.com/office/drawing/2014/main" id="{BA08AEDC-3FF1-931A-18A4-287E795872BE}"/>
              </a:ext>
            </a:extLst>
          </p:cNvPr>
          <p:cNvSpPr txBox="1"/>
          <p:nvPr/>
        </p:nvSpPr>
        <p:spPr>
          <a:xfrm>
            <a:off x="738594" y="6188697"/>
            <a:ext cx="6037625" cy="275870"/>
          </a:xfrm>
          <a:prstGeom prst="rect">
            <a:avLst/>
          </a:prstGeom>
          <a:noFill/>
        </p:spPr>
        <p:txBody>
          <a:bodyPr wrap="square" rtlCol="0">
            <a:spAutoFit/>
          </a:bodyPr>
          <a:lstStyle/>
          <a:p>
            <a:pPr marL="144000"/>
            <a:r>
              <a:rPr lang="en-US" sz="1200">
                <a:latin typeface="Sofia Sans" panose="020B0604020202020204" charset="0"/>
              </a:rPr>
              <a:t>Calculate the deficits/surpluses for each period on Thursday and Friday.</a:t>
            </a:r>
          </a:p>
        </p:txBody>
      </p:sp>
    </p:spTree>
    <p:extLst>
      <p:ext uri="{BB962C8B-B14F-4D97-AF65-F5344CB8AC3E}">
        <p14:creationId xmlns:p14="http://schemas.microsoft.com/office/powerpoint/2010/main" val="39648382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2EF73D5-32E0-13C7-3D38-D042DC03FD4D}"/>
              </a:ext>
            </a:extLst>
          </p:cNvPr>
          <p:cNvSpPr>
            <a:spLocks noGrp="1"/>
          </p:cNvSpPr>
          <p:nvPr>
            <p:ph type="sldNum" sz="quarter" idx="4"/>
          </p:nvPr>
        </p:nvSpPr>
        <p:spPr/>
        <p:txBody>
          <a:bodyPr/>
          <a:lstStyle/>
          <a:p>
            <a:fld id="{DF7F771E-9578-4C04-B869-01AF4C35C90C}" type="slidenum">
              <a:rPr lang="de-DE" smtClean="0"/>
              <a:t>77</a:t>
            </a:fld>
            <a:endParaRPr lang="de-DE"/>
          </a:p>
        </p:txBody>
      </p:sp>
      <p:sp>
        <p:nvSpPr>
          <p:cNvPr id="6" name="Textfeld 5">
            <a:extLst>
              <a:ext uri="{FF2B5EF4-FFF2-40B4-BE49-F238E27FC236}">
                <a16:creationId xmlns:a16="http://schemas.microsoft.com/office/drawing/2014/main" id="{4405F8C5-C4A1-B996-D67B-BFCD98A43AF9}"/>
              </a:ext>
            </a:extLst>
          </p:cNvPr>
          <p:cNvSpPr txBox="1"/>
          <p:nvPr/>
        </p:nvSpPr>
        <p:spPr>
          <a:xfrm>
            <a:off x="748322" y="3343332"/>
            <a:ext cx="5915126" cy="461665"/>
          </a:xfrm>
          <a:prstGeom prst="rect">
            <a:avLst/>
          </a:prstGeom>
          <a:noFill/>
        </p:spPr>
        <p:txBody>
          <a:bodyPr wrap="square" rtlCol="0">
            <a:spAutoFit/>
          </a:bodyPr>
          <a:lstStyle/>
          <a:p>
            <a:pPr marL="144000"/>
            <a:r>
              <a:rPr lang="en-US" sz="1200">
                <a:latin typeface="Sofia Sans" panose="020B0604020202020204" charset="0"/>
              </a:rPr>
              <a:t>What should the city do to balance electricity generation and demand for Thursday and Friday?</a:t>
            </a:r>
          </a:p>
        </p:txBody>
      </p:sp>
      <p:sp>
        <p:nvSpPr>
          <p:cNvPr id="7" name="Textfeld 6">
            <a:extLst>
              <a:ext uri="{FF2B5EF4-FFF2-40B4-BE49-F238E27FC236}">
                <a16:creationId xmlns:a16="http://schemas.microsoft.com/office/drawing/2014/main" id="{851CFD54-BA56-DFE9-9E6B-FA4E8AADFDED}"/>
              </a:ext>
            </a:extLst>
          </p:cNvPr>
          <p:cNvSpPr txBox="1"/>
          <p:nvPr/>
        </p:nvSpPr>
        <p:spPr>
          <a:xfrm>
            <a:off x="949432" y="3953367"/>
            <a:ext cx="6007451" cy="2223690"/>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lvl="2">
              <a:lnSpc>
                <a:spcPct val="115000"/>
              </a:lnSpc>
              <a:spcAft>
                <a:spcPts val="800"/>
              </a:spcAft>
              <a:buSzPts val="1000"/>
              <a:tabLst>
                <a:tab pos="1371600" algn="l"/>
              </a:tabLst>
            </a:pPr>
            <a:r>
              <a:rPr lang="en-DE" sz="1200" b="1" kern="100">
                <a:solidFill>
                  <a:srgbClr val="FF0000"/>
                </a:solidFill>
                <a:effectLst/>
                <a:latin typeface="Sofia Sans"/>
                <a:ea typeface="Aptos" panose="020B0004020202020204" pitchFamily="34" charset="0"/>
                <a:cs typeface="Times New Roman"/>
              </a:rPr>
              <a:t>Thursday:</a:t>
            </a:r>
            <a:endParaRPr lang="de-DE" sz="1200" b="1" kern="100">
              <a:solidFill>
                <a:srgbClr val="FF0000"/>
              </a:solidFill>
              <a:latin typeface="Sofia Sans"/>
              <a:ea typeface="Aptos" panose="020B0004020202020204" pitchFamily="34" charset="0"/>
              <a:cs typeface="Times New Roman"/>
            </a:endParaRP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Store surplus energy in batteries or export it to neighboring regions.</a:t>
            </a:r>
            <a:endParaRPr lang="de-DE" sz="1200" kern="100">
              <a:solidFill>
                <a:srgbClr val="FF0000"/>
              </a:solidFill>
              <a:effectLst/>
              <a:latin typeface="Sofia Sans"/>
              <a:ea typeface="Aptos" panose="020B0004020202020204" pitchFamily="34" charset="0"/>
              <a:cs typeface="Times New Roman"/>
            </a:endParaRP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Use surplus to charge electric vehicles or power other flexible loads.</a:t>
            </a:r>
          </a:p>
          <a:p>
            <a:pPr marL="144000" lvl="2">
              <a:lnSpc>
                <a:spcPct val="115000"/>
              </a:lnSpc>
              <a:spcAft>
                <a:spcPts val="800"/>
              </a:spcAft>
              <a:buSzPts val="1000"/>
              <a:tabLst>
                <a:tab pos="1371600" algn="l"/>
              </a:tabLst>
            </a:pPr>
            <a:r>
              <a:rPr lang="en-DE" sz="1200" b="1" kern="100">
                <a:solidFill>
                  <a:srgbClr val="FF0000"/>
                </a:solidFill>
                <a:effectLst/>
                <a:latin typeface="Sofia Sans"/>
                <a:ea typeface="Aptos" panose="020B0004020202020204" pitchFamily="34" charset="0"/>
                <a:cs typeface="Times New Roman"/>
              </a:rPr>
              <a:t>Friday:</a:t>
            </a:r>
            <a:endParaRPr lang="de-DE" sz="1200" b="1" kern="100">
              <a:solidFill>
                <a:srgbClr val="FF0000"/>
              </a:solidFill>
              <a:latin typeface="Sofia Sans"/>
              <a:ea typeface="Aptos" panose="020B0004020202020204" pitchFamily="34" charset="0"/>
              <a:cs typeface="Times New Roman"/>
            </a:endParaRP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Utilize stored energy from Thursday’s surpluses to cover deficits.</a:t>
            </a:r>
            <a:endParaRPr lang="de-DE" sz="1200" kern="100">
              <a:solidFill>
                <a:srgbClr val="FF0000"/>
              </a:solidFill>
              <a:effectLst/>
              <a:latin typeface="Sofia Sans"/>
              <a:ea typeface="Aptos" panose="020B0004020202020204" pitchFamily="34" charset="0"/>
              <a:cs typeface="Times New Roman"/>
            </a:endParaRPr>
          </a:p>
          <a:p>
            <a:pPr marL="144000" lvl="2">
              <a:lnSpc>
                <a:spcPct val="115000"/>
              </a:lnSpc>
              <a:spcAft>
                <a:spcPts val="800"/>
              </a:spcAft>
              <a:buSzPts val="1000"/>
              <a:tabLst>
                <a:tab pos="1371600" algn="l"/>
              </a:tabLst>
            </a:pPr>
            <a:r>
              <a:rPr lang="en-DE" sz="1200" kern="100">
                <a:solidFill>
                  <a:srgbClr val="FF0000"/>
                </a:solidFill>
                <a:effectLst/>
                <a:latin typeface="Sofia Sans"/>
                <a:ea typeface="Aptos" panose="020B0004020202020204" pitchFamily="34" charset="0"/>
                <a:cs typeface="Times New Roman"/>
              </a:rPr>
              <a:t>Import electricity from other grids.</a:t>
            </a:r>
            <a:endParaRPr lang="de-DE" sz="1200" kern="100">
              <a:solidFill>
                <a:srgbClr val="FF0000"/>
              </a:solidFill>
              <a:effectLst/>
              <a:latin typeface="Sofia Sans"/>
              <a:ea typeface="Aptos" panose="020B0004020202020204" pitchFamily="34" charset="0"/>
              <a:cs typeface="Times New Roman"/>
            </a:endParaRPr>
          </a:p>
          <a:p>
            <a:pPr marL="144000" lvl="2">
              <a:lnSpc>
                <a:spcPct val="115000"/>
              </a:lnSpc>
              <a:spcAft>
                <a:spcPts val="800"/>
              </a:spcAft>
              <a:buSzPts val="1000"/>
              <a:tabLst>
                <a:tab pos="1371600" algn="l"/>
              </a:tabLst>
            </a:pP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Encourage demand response programs to reduce peak usage.</a:t>
            </a:r>
          </a:p>
        </p:txBody>
      </p:sp>
      <p:sp>
        <p:nvSpPr>
          <p:cNvPr id="8" name="Textfeld 7">
            <a:extLst>
              <a:ext uri="{FF2B5EF4-FFF2-40B4-BE49-F238E27FC236}">
                <a16:creationId xmlns:a16="http://schemas.microsoft.com/office/drawing/2014/main" id="{025D84C7-72D8-8FCF-35B1-EE1C610F80B0}"/>
              </a:ext>
            </a:extLst>
          </p:cNvPr>
          <p:cNvSpPr txBox="1"/>
          <p:nvPr/>
        </p:nvSpPr>
        <p:spPr>
          <a:xfrm>
            <a:off x="748322" y="1291134"/>
            <a:ext cx="5915126" cy="276999"/>
          </a:xfrm>
          <a:prstGeom prst="rect">
            <a:avLst/>
          </a:prstGeom>
          <a:noFill/>
        </p:spPr>
        <p:txBody>
          <a:bodyPr wrap="square" rtlCol="0">
            <a:spAutoFit/>
          </a:bodyPr>
          <a:lstStyle/>
          <a:p>
            <a:pPr marL="144000"/>
            <a:r>
              <a:rPr lang="en-US" sz="1200">
                <a:latin typeface="Sofia Sans" panose="020B0604020202020204" charset="0"/>
              </a:rPr>
              <a:t>Why is the city experiencing such large surpluses and deficits on these two days?</a:t>
            </a:r>
          </a:p>
        </p:txBody>
      </p:sp>
      <p:sp>
        <p:nvSpPr>
          <p:cNvPr id="10" name="Textfeld 9">
            <a:extLst>
              <a:ext uri="{FF2B5EF4-FFF2-40B4-BE49-F238E27FC236}">
                <a16:creationId xmlns:a16="http://schemas.microsoft.com/office/drawing/2014/main" id="{50CE6C86-6A33-ECEB-CB5C-FE883E664C71}"/>
              </a:ext>
            </a:extLst>
          </p:cNvPr>
          <p:cNvSpPr txBox="1"/>
          <p:nvPr/>
        </p:nvSpPr>
        <p:spPr>
          <a:xfrm>
            <a:off x="949432" y="1716251"/>
            <a:ext cx="6007451" cy="146129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44000" indent="-171450">
              <a:buFont typeface="Arial" panose="020B0604020202020204" pitchFamily="34" charset="0"/>
              <a:buChar char="•"/>
            </a:pPr>
            <a:endParaRPr lang="en-DE" sz="1200">
              <a:effectLst/>
              <a:latin typeface="Sofia Sans" panose="020B0604020202020204" charset="0"/>
            </a:endParaRPr>
          </a:p>
          <a:p>
            <a:pPr marL="144000" lvl="2">
              <a:lnSpc>
                <a:spcPct val="115000"/>
              </a:lnSpc>
              <a:spcAft>
                <a:spcPts val="800"/>
              </a:spcAft>
              <a:buSzPts val="1000"/>
              <a:tabLst>
                <a:tab pos="1371600" algn="l"/>
              </a:tabLst>
            </a:pPr>
            <a:r>
              <a:rPr lang="en-DE" sz="1200" b="1" kern="100">
                <a:solidFill>
                  <a:srgbClr val="FF0000"/>
                </a:solidFill>
                <a:effectLst/>
                <a:latin typeface="Sofia Sans" panose="020B0604020202020204" charset="0"/>
                <a:ea typeface="Aptos" panose="020B0004020202020204" pitchFamily="34" charset="0"/>
                <a:cs typeface="Times New Roman" panose="02020603050405020304" pitchFamily="18" charset="0"/>
              </a:rPr>
              <a:t>Thursday:</a:t>
            </a:r>
            <a:r>
              <a:rPr lang="en-DE" sz="1200" kern="100">
                <a:solidFill>
                  <a:srgbClr val="FF0000"/>
                </a:solidFill>
                <a:effectLst/>
                <a:latin typeface="Sofia Sans" panose="020B0604020202020204" charset="0"/>
                <a:ea typeface="Aptos" panose="020B0004020202020204" pitchFamily="34" charset="0"/>
                <a:cs typeface="Times New Roman" panose="02020603050405020304" pitchFamily="18" charset="0"/>
              </a:rPr>
              <a:t> High wind generation causes significant surpluses throughout the day.</a:t>
            </a:r>
          </a:p>
          <a:p>
            <a:pPr marL="144000" lvl="2">
              <a:lnSpc>
                <a:spcPct val="115000"/>
              </a:lnSpc>
              <a:spcAft>
                <a:spcPts val="800"/>
              </a:spcAft>
              <a:buSzPts val="1000"/>
              <a:tabLst>
                <a:tab pos="1371600" algn="l"/>
              </a:tabLst>
            </a:pPr>
            <a:r>
              <a:rPr lang="en-DE" sz="1200" b="1" kern="100">
                <a:solidFill>
                  <a:srgbClr val="FF0000"/>
                </a:solidFill>
                <a:effectLst/>
                <a:latin typeface="Sofia Sans"/>
                <a:ea typeface="Aptos" panose="020B0004020202020204" pitchFamily="34" charset="0"/>
                <a:cs typeface="Times New Roman"/>
              </a:rPr>
              <a:t>Friday:</a:t>
            </a:r>
            <a:r>
              <a:rPr lang="en-DE" sz="1200" kern="100">
                <a:solidFill>
                  <a:srgbClr val="FF0000"/>
                </a:solidFill>
                <a:effectLst/>
                <a:latin typeface="Sofia Sans"/>
                <a:ea typeface="Aptos" panose="020B0004020202020204" pitchFamily="34" charset="0"/>
                <a:cs typeface="Times New Roman"/>
              </a:rPr>
              <a:t> Low wind and moderate PV generation lead to </a:t>
            </a:r>
            <a:r>
              <a:rPr lang="de-DE" sz="1200" kern="100" err="1">
                <a:solidFill>
                  <a:srgbClr val="FF0000"/>
                </a:solidFill>
                <a:effectLst/>
                <a:latin typeface="Sofia Sans"/>
                <a:ea typeface="Aptos" panose="020B0004020202020204" pitchFamily="34" charset="0"/>
                <a:cs typeface="Times New Roman"/>
              </a:rPr>
              <a:t>higher</a:t>
            </a:r>
            <a:r>
              <a:rPr lang="de-DE" sz="1200" kern="100">
                <a:solidFill>
                  <a:srgbClr val="FF0000"/>
                </a:solidFill>
                <a:effectLst/>
                <a:latin typeface="Sofia Sans"/>
                <a:ea typeface="Aptos" panose="020B0004020202020204" pitchFamily="34" charset="0"/>
                <a:cs typeface="Times New Roman"/>
              </a:rPr>
              <a:t> </a:t>
            </a:r>
            <a:r>
              <a:rPr lang="en-DE" sz="1200" kern="100">
                <a:solidFill>
                  <a:srgbClr val="FF0000"/>
                </a:solidFill>
                <a:effectLst/>
                <a:latin typeface="Sofia Sans"/>
                <a:ea typeface="Aptos" panose="020B0004020202020204" pitchFamily="34" charset="0"/>
                <a:cs typeface="Times New Roman"/>
              </a:rPr>
              <a:t>deficits, as they cannot meet demand.</a:t>
            </a:r>
          </a:p>
        </p:txBody>
      </p:sp>
    </p:spTree>
    <p:extLst>
      <p:ext uri="{BB962C8B-B14F-4D97-AF65-F5344CB8AC3E}">
        <p14:creationId xmlns:p14="http://schemas.microsoft.com/office/powerpoint/2010/main" val="362770446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F5408-926C-B1B4-74CD-8BF3B5446848}"/>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A0F470E5-2DAC-D515-E4A7-FB5E1B938876}"/>
              </a:ext>
            </a:extLst>
          </p:cNvPr>
          <p:cNvSpPr>
            <a:spLocks noGrp="1"/>
          </p:cNvSpPr>
          <p:nvPr>
            <p:ph type="sldNum" sz="quarter" idx="16"/>
          </p:nvPr>
        </p:nvSpPr>
        <p:spPr/>
        <p:txBody>
          <a:bodyPr/>
          <a:lstStyle/>
          <a:p>
            <a:fld id="{DF7F771E-9578-4C04-B869-01AF4C35C90C}" type="slidenum">
              <a:rPr lang="de-DE" smtClean="0"/>
              <a:t>78</a:t>
            </a:fld>
            <a:endParaRPr lang="de-DE"/>
          </a:p>
        </p:txBody>
      </p:sp>
      <p:sp>
        <p:nvSpPr>
          <p:cNvPr id="9" name="Rechteck 1">
            <a:extLst>
              <a:ext uri="{FF2B5EF4-FFF2-40B4-BE49-F238E27FC236}">
                <a16:creationId xmlns:a16="http://schemas.microsoft.com/office/drawing/2014/main" id="{308D7E0E-DEB7-5335-506F-F4BE5C704FE5}"/>
              </a:ext>
            </a:extLst>
          </p:cNvPr>
          <p:cNvSpPr/>
          <p:nvPr/>
        </p:nvSpPr>
        <p:spPr>
          <a:xfrm>
            <a:off x="719138" y="1514413"/>
            <a:ext cx="5740172" cy="764904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4" name="Gruppieren 53">
            <a:extLst>
              <a:ext uri="{FF2B5EF4-FFF2-40B4-BE49-F238E27FC236}">
                <a16:creationId xmlns:a16="http://schemas.microsoft.com/office/drawing/2014/main" id="{5383A14D-E866-A44C-B63B-0C54917DD3AD}"/>
              </a:ext>
            </a:extLst>
          </p:cNvPr>
          <p:cNvGrpSpPr/>
          <p:nvPr/>
        </p:nvGrpSpPr>
        <p:grpSpPr>
          <a:xfrm>
            <a:off x="6189805" y="1277938"/>
            <a:ext cx="576000" cy="569914"/>
            <a:chOff x="6319591" y="1039220"/>
            <a:chExt cx="660145" cy="660145"/>
          </a:xfrm>
        </p:grpSpPr>
        <p:sp>
          <p:nvSpPr>
            <p:cNvPr id="10" name="Ellipse 2">
              <a:extLst>
                <a:ext uri="{FF2B5EF4-FFF2-40B4-BE49-F238E27FC236}">
                  <a16:creationId xmlns:a16="http://schemas.microsoft.com/office/drawing/2014/main" id="{EC1EF55F-1A5E-7604-1D10-DAC39EE82A9E}"/>
                </a:ext>
              </a:extLst>
            </p:cNvPr>
            <p:cNvSpPr>
              <a:spLocks noChangeAspect="1"/>
            </p:cNvSpPr>
            <p:nvPr/>
          </p:nvSpPr>
          <p:spPr>
            <a:xfrm>
              <a:off x="6319591" y="1039220"/>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9" descr="Lesezeichen mit einfarbiger Füllung">
              <a:extLst>
                <a:ext uri="{FF2B5EF4-FFF2-40B4-BE49-F238E27FC236}">
                  <a16:creationId xmlns:a16="http://schemas.microsoft.com/office/drawing/2014/main" id="{9E718BF4-1E0B-234C-D95E-D50043A4A8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47438" y="1167067"/>
              <a:ext cx="404450" cy="404450"/>
            </a:xfrm>
            <a:prstGeom prst="rect">
              <a:avLst/>
            </a:prstGeom>
          </p:spPr>
        </p:pic>
      </p:grpSp>
      <p:sp>
        <p:nvSpPr>
          <p:cNvPr id="12" name="Untertitel 5">
            <a:extLst>
              <a:ext uri="{FF2B5EF4-FFF2-40B4-BE49-F238E27FC236}">
                <a16:creationId xmlns:a16="http://schemas.microsoft.com/office/drawing/2014/main" id="{144E35B0-4A4D-C69C-23A5-6E52089EF8F7}"/>
              </a:ext>
            </a:extLst>
          </p:cNvPr>
          <p:cNvSpPr txBox="1">
            <a:spLocks/>
          </p:cNvSpPr>
          <p:nvPr/>
        </p:nvSpPr>
        <p:spPr>
          <a:xfrm>
            <a:off x="946343" y="1608009"/>
            <a:ext cx="5076826" cy="49028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13" name="Untertitel 2">
            <a:extLst>
              <a:ext uri="{FF2B5EF4-FFF2-40B4-BE49-F238E27FC236}">
                <a16:creationId xmlns:a16="http://schemas.microsoft.com/office/drawing/2014/main" id="{484FB324-D6F1-6544-1BE1-038D789B6E4D}"/>
              </a:ext>
            </a:extLst>
          </p:cNvPr>
          <p:cNvSpPr>
            <a:spLocks noGrp="1"/>
          </p:cNvSpPr>
          <p:nvPr>
            <p:ph type="subTitle" idx="1"/>
          </p:nvPr>
        </p:nvSpPr>
        <p:spPr>
          <a:xfrm>
            <a:off x="907683" y="2078363"/>
            <a:ext cx="5281980" cy="6854581"/>
          </a:xfrm>
        </p:spPr>
        <p:txBody>
          <a:bodyPr/>
          <a:lstStyle/>
          <a:p>
            <a:pPr marL="139700" indent="0"/>
            <a:r>
              <a:rPr lang="de-DE" sz="1200"/>
              <a:t>The </a:t>
            </a:r>
            <a:r>
              <a:rPr lang="en-DE" sz="1200"/>
              <a:t>electricity grid operates on the fundamental principle that generation</a:t>
            </a:r>
            <a:r>
              <a:rPr lang="de-DE" sz="1200"/>
              <a:t> </a:t>
            </a:r>
          </a:p>
          <a:p>
            <a:pPr marL="139700" indent="0"/>
            <a:r>
              <a:rPr lang="en-DE" sz="1200"/>
              <a:t>must always equal demand to ensure stability and reliability. Imbalances in this</a:t>
            </a:r>
            <a:r>
              <a:rPr lang="de-DE" sz="1200"/>
              <a:t>  </a:t>
            </a:r>
            <a:r>
              <a:rPr lang="en-DE" sz="1200"/>
              <a:t>equilibrium can have serious consequences:</a:t>
            </a:r>
          </a:p>
          <a:p>
            <a:pPr marL="288000" lvl="0" indent="-171450">
              <a:lnSpc>
                <a:spcPct val="100000"/>
              </a:lnSpc>
              <a:spcAft>
                <a:spcPts val="800"/>
              </a:spcAft>
              <a:buClr>
                <a:schemeClr val="accent5"/>
              </a:buClr>
              <a:buSzPct val="121000"/>
              <a:buFont typeface="Arial" panose="020B0604020202020204" pitchFamily="34" charset="0"/>
              <a:buChar char="•"/>
              <a:tabLst>
                <a:tab pos="457200" algn="l"/>
              </a:tabLst>
            </a:pPr>
            <a:r>
              <a:rPr lang="en-DE" sz="1200" b="1" kern="100">
                <a:effectLst/>
                <a:latin typeface="Sofia Sans" panose="020B0604020202020204" charset="0"/>
                <a:ea typeface="Aptos" panose="020B0004020202020204" pitchFamily="34" charset="0"/>
                <a:cs typeface="Times New Roman" panose="02020603050405020304" pitchFamily="18" charset="0"/>
              </a:rPr>
              <a:t>Over-Generation</a:t>
            </a:r>
            <a:r>
              <a:rPr lang="en-DE" sz="1200" kern="100">
                <a:effectLst/>
                <a:latin typeface="Sofia Sans" panose="020B0604020202020204" charset="0"/>
                <a:ea typeface="Aptos" panose="020B0004020202020204" pitchFamily="34" charset="0"/>
                <a:cs typeface="Times New Roman" panose="02020603050405020304" pitchFamily="18" charset="0"/>
              </a:rPr>
              <a:t>: Leads to power surges and potential damage to equipment.</a:t>
            </a:r>
            <a:endParaRPr lang="de-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171450">
              <a:lnSpc>
                <a:spcPct val="100000"/>
              </a:lnSpc>
              <a:spcAft>
                <a:spcPts val="800"/>
              </a:spcAft>
              <a:buClr>
                <a:schemeClr val="accent5"/>
              </a:buClr>
              <a:buSzPct val="121000"/>
              <a:buFont typeface="Arial" panose="020B0604020202020204" pitchFamily="34" charset="0"/>
              <a:buChar char="•"/>
              <a:tabLst>
                <a:tab pos="457200" algn="l"/>
              </a:tabLst>
            </a:pPr>
            <a:r>
              <a:rPr lang="en-DE" sz="1200" b="1">
                <a:effectLst/>
                <a:latin typeface="Sofia Sans" panose="020B0604020202020204" charset="0"/>
                <a:ea typeface="Aptos" panose="020B0004020202020204" pitchFamily="34" charset="0"/>
                <a:cs typeface="Times New Roman" panose="02020603050405020304" pitchFamily="18" charset="0"/>
              </a:rPr>
              <a:t>Under-Generation</a:t>
            </a:r>
            <a:r>
              <a:rPr lang="en-DE" sz="1200">
                <a:effectLst/>
                <a:latin typeface="Sofia Sans" panose="020B0604020202020204" charset="0"/>
                <a:ea typeface="Aptos" panose="020B0004020202020204" pitchFamily="34" charset="0"/>
                <a:cs typeface="Times New Roman" panose="02020603050405020304" pitchFamily="18" charset="0"/>
              </a:rPr>
              <a:t>: Results in blackouts or system instability</a:t>
            </a:r>
            <a:r>
              <a:rPr lang="de-DE" sz="1200">
                <a:effectLst/>
                <a:latin typeface="Sofia Sans" panose="020B0604020202020204" charset="0"/>
                <a:ea typeface="Aptos" panose="020B0004020202020204" pitchFamily="34" charset="0"/>
                <a:cs typeface="Times New Roman" panose="02020603050405020304" pitchFamily="18" charset="0"/>
              </a:rPr>
              <a:t>.</a:t>
            </a:r>
          </a:p>
          <a:p>
            <a:pPr>
              <a:lnSpc>
                <a:spcPct val="100000"/>
              </a:lnSpc>
            </a:pPr>
            <a:endParaRPr lang="de-DE" sz="1200">
              <a:latin typeface="Sofia Sans" panose="020B0604020202020204" charset="0"/>
              <a:cs typeface="Times New Roman" panose="02020603050405020304" pitchFamily="18" charset="0"/>
            </a:endParaRPr>
          </a:p>
          <a:p>
            <a:pPr>
              <a:lnSpc>
                <a:spcPct val="100000"/>
              </a:lnSpc>
              <a:spcAft>
                <a:spcPts val="800"/>
              </a:spcAft>
            </a:pPr>
            <a:r>
              <a:rPr lang="en-DE" sz="1200" b="1" kern="100">
                <a:effectLst/>
                <a:latin typeface="Sofia Sans" panose="020B0604020202020204" charset="0"/>
                <a:ea typeface="Aptos" panose="020B0004020202020204" pitchFamily="34" charset="0"/>
                <a:cs typeface="Times New Roman" panose="02020603050405020304" pitchFamily="18" charset="0"/>
              </a:rPr>
              <a:t>Why Balancing Matters</a:t>
            </a:r>
            <a:endParaRPr lang="en-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228600">
              <a:lnSpc>
                <a:spcPct val="100000"/>
              </a:lnSpc>
              <a:spcAft>
                <a:spcPts val="800"/>
              </a:spcAft>
              <a:buClr>
                <a:schemeClr val="accent5"/>
              </a:buClr>
              <a:buSzPct val="121000"/>
              <a:buFont typeface="+mj-lt"/>
              <a:buAutoNum type="arabicPeriod"/>
              <a:tabLst>
                <a:tab pos="457200" algn="l"/>
              </a:tabLst>
            </a:pPr>
            <a:r>
              <a:rPr lang="en-DE" sz="1200" b="1" kern="100">
                <a:effectLst/>
                <a:latin typeface="Sofia Sans" panose="020B0604020202020204" charset="0"/>
                <a:ea typeface="Aptos" panose="020B0004020202020204" pitchFamily="34" charset="0"/>
                <a:cs typeface="Times New Roman" panose="02020603050405020304" pitchFamily="18" charset="0"/>
              </a:rPr>
              <a:t>Maintaining Frequency</a:t>
            </a:r>
            <a:r>
              <a:rPr lang="en-DE" sz="1200" kern="100">
                <a:effectLst/>
                <a:latin typeface="Sofia Sans" panose="020B0604020202020204" charset="0"/>
                <a:ea typeface="Aptos" panose="020B0004020202020204" pitchFamily="34" charset="0"/>
                <a:cs typeface="Times New Roman" panose="02020603050405020304" pitchFamily="18" charset="0"/>
              </a:rPr>
              <a:t>: Electricity grids operate at a specific frequency (e.g., 50/60 Hz). Deviations indicate imbalance and must be corrected promptly.</a:t>
            </a:r>
            <a:endParaRPr lang="de-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228600">
              <a:lnSpc>
                <a:spcPct val="100000"/>
              </a:lnSpc>
              <a:spcAft>
                <a:spcPts val="800"/>
              </a:spcAft>
              <a:buClr>
                <a:schemeClr val="accent5"/>
              </a:buClr>
              <a:buSzPct val="121000"/>
              <a:buFont typeface="+mj-lt"/>
              <a:buAutoNum type="arabicPeriod"/>
              <a:tabLst>
                <a:tab pos="457200" algn="l"/>
              </a:tabLst>
            </a:pPr>
            <a:r>
              <a:rPr lang="en-DE" sz="1200" b="1">
                <a:effectLst/>
                <a:latin typeface="Sofia Sans" panose="020B0604020202020204" charset="0"/>
                <a:ea typeface="Aptos" panose="020B0004020202020204" pitchFamily="34" charset="0"/>
                <a:cs typeface="Times New Roman" panose="02020603050405020304" pitchFamily="18" charset="0"/>
              </a:rPr>
              <a:t>Stability and Efficiency</a:t>
            </a:r>
            <a:r>
              <a:rPr lang="en-DE" sz="1200">
                <a:effectLst/>
                <a:latin typeface="Sofia Sans" panose="020B0604020202020204" charset="0"/>
                <a:ea typeface="Aptos" panose="020B0004020202020204" pitchFamily="34" charset="0"/>
                <a:cs typeface="Times New Roman" panose="02020603050405020304" pitchFamily="18" charset="0"/>
              </a:rPr>
              <a:t>: Continuous adjustments are essential to match</a:t>
            </a:r>
            <a:r>
              <a:rPr lang="de-DE" sz="1200">
                <a:latin typeface="Sofia Sans" panose="020B0604020202020204" charset="0"/>
                <a:ea typeface="Aptos" panose="020B0004020202020204" pitchFamily="34" charset="0"/>
                <a:cs typeface="Times New Roman" panose="02020603050405020304" pitchFamily="18" charset="0"/>
              </a:rPr>
              <a:t> </a:t>
            </a:r>
            <a:r>
              <a:rPr lang="en-DE" sz="1200">
                <a:effectLst/>
                <a:latin typeface="Sofia Sans" panose="020B0604020202020204" charset="0"/>
                <a:ea typeface="Aptos" panose="020B0004020202020204" pitchFamily="34" charset="0"/>
                <a:cs typeface="Times New Roman" panose="02020603050405020304" pitchFamily="18" charset="0"/>
              </a:rPr>
              <a:t>fluctuating demand with generation and maintain reliable operations</a:t>
            </a:r>
            <a:r>
              <a:rPr lang="de-DE" sz="1200">
                <a:effectLst/>
                <a:latin typeface="Sofia Sans" panose="020B0604020202020204" charset="0"/>
                <a:ea typeface="Aptos" panose="020B0004020202020204" pitchFamily="34" charset="0"/>
                <a:cs typeface="Times New Roman" panose="02020603050405020304" pitchFamily="18" charset="0"/>
              </a:rPr>
              <a:t>.</a:t>
            </a:r>
          </a:p>
          <a:p>
            <a:pPr marL="288000" indent="-228600">
              <a:lnSpc>
                <a:spcPct val="100000"/>
              </a:lnSpc>
              <a:spcAft>
                <a:spcPts val="800"/>
              </a:spcAft>
              <a:buClr>
                <a:schemeClr val="accent5"/>
              </a:buClr>
              <a:buSzPct val="121000"/>
              <a:buFont typeface="+mj-lt"/>
              <a:buAutoNum type="arabicPeriod"/>
              <a:tabLst>
                <a:tab pos="457200" algn="l"/>
              </a:tabLst>
            </a:pPr>
            <a:r>
              <a:rPr lang="en-DE" sz="1200" kern="100">
                <a:effectLst/>
                <a:latin typeface="Sofia Sans" panose="020B0604020202020204" charset="0"/>
                <a:ea typeface="Aptos" panose="020B0004020202020204" pitchFamily="34" charset="0"/>
                <a:cs typeface="Times New Roman" panose="02020603050405020304" pitchFamily="18" charset="0"/>
              </a:rPr>
              <a:t>Buffer systems ensure </a:t>
            </a:r>
            <a:r>
              <a:rPr lang="en-DE" sz="1200" b="1" kern="100">
                <a:effectLst/>
                <a:latin typeface="Sofia Sans" panose="020B0604020202020204" charset="0"/>
                <a:ea typeface="Aptos" panose="020B0004020202020204" pitchFamily="34" charset="0"/>
                <a:cs typeface="Times New Roman" panose="02020603050405020304" pitchFamily="18" charset="0"/>
              </a:rPr>
              <a:t>grid reliability</a:t>
            </a:r>
            <a:r>
              <a:rPr lang="en-DE" sz="1200" kern="100">
                <a:effectLst/>
                <a:latin typeface="Sofia Sans" panose="020B0604020202020204" charset="0"/>
                <a:ea typeface="Aptos" panose="020B0004020202020204" pitchFamily="34" charset="0"/>
                <a:cs typeface="Times New Roman" panose="02020603050405020304" pitchFamily="18" charset="0"/>
              </a:rPr>
              <a:t>, prevent blackouts, and handle renewable energy variability. Solutions like storage, demand management, and regional collaboration maintain the critical balance of generation and demand.</a:t>
            </a:r>
            <a:endParaRPr lang="de-DE" sz="1200">
              <a:latin typeface="Sofia Sans" panose="020B0604020202020204" charset="0"/>
              <a:ea typeface="Aptos" panose="020B0004020202020204" pitchFamily="34" charset="0"/>
              <a:cs typeface="Times New Roman" panose="02020603050405020304" pitchFamily="18" charset="0"/>
            </a:endParaRPr>
          </a:p>
          <a:p>
            <a:pPr>
              <a:lnSpc>
                <a:spcPct val="100000"/>
              </a:lnSpc>
            </a:pPr>
            <a:endParaRPr lang="de-DE" sz="1200">
              <a:latin typeface="Sofia Sans" panose="020B0604020202020204" charset="0"/>
              <a:cs typeface="Times New Roman" panose="02020603050405020304" pitchFamily="18" charset="0"/>
            </a:endParaRPr>
          </a:p>
          <a:p>
            <a:pPr>
              <a:lnSpc>
                <a:spcPct val="100000"/>
              </a:lnSpc>
              <a:spcAft>
                <a:spcPts val="800"/>
              </a:spcAft>
            </a:pPr>
            <a:r>
              <a:rPr lang="en-DE" sz="1200" b="1" kern="100">
                <a:effectLst/>
                <a:latin typeface="Sofia Sans" panose="020B0604020202020204" charset="0"/>
                <a:ea typeface="Aptos" panose="020B0004020202020204" pitchFamily="34" charset="0"/>
                <a:cs typeface="Times New Roman" panose="02020603050405020304" pitchFamily="18" charset="0"/>
              </a:rPr>
              <a:t>Key </a:t>
            </a:r>
            <a:r>
              <a:rPr lang="en-DE" sz="1200" b="1">
                <a:latin typeface="Sofia Sans" panose="020B0604020202020204" charset="0"/>
                <a:cs typeface="Times New Roman" panose="02020603050405020304" pitchFamily="18" charset="0"/>
              </a:rPr>
              <a:t>Buffer Systems for Grid Stability</a:t>
            </a:r>
            <a:r>
              <a:rPr lang="de-DE" sz="1200" b="1">
                <a:latin typeface="Sofia Sans" panose="020B0604020202020204" charset="0"/>
                <a:cs typeface="Times New Roman" panose="02020603050405020304" pitchFamily="18" charset="0"/>
              </a:rPr>
              <a:t> – </a:t>
            </a:r>
            <a:r>
              <a:rPr lang="en-DE" sz="1200" b="1" kern="100">
                <a:effectLst/>
                <a:latin typeface="Sofia Sans" panose="020B0604020202020204" charset="0"/>
                <a:ea typeface="Aptos" panose="020B0004020202020204" pitchFamily="34" charset="0"/>
                <a:cs typeface="Times New Roman" panose="02020603050405020304" pitchFamily="18" charset="0"/>
              </a:rPr>
              <a:t>Balancing Mechanisms</a:t>
            </a:r>
            <a:endParaRPr lang="en-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228600">
              <a:lnSpc>
                <a:spcPct val="100000"/>
              </a:lnSpc>
              <a:spcAft>
                <a:spcPts val="800"/>
              </a:spcAft>
              <a:buClr>
                <a:schemeClr val="accent5"/>
              </a:buClr>
              <a:buSzPct val="121000"/>
              <a:buFont typeface="+mj-lt"/>
              <a:buAutoNum type="arabicPeriod"/>
              <a:tabLst>
                <a:tab pos="457200" algn="l"/>
              </a:tabLst>
            </a:pPr>
            <a:r>
              <a:rPr lang="en-DE" sz="1200" b="1" kern="100">
                <a:effectLst/>
                <a:latin typeface="Sofia Sans" panose="020B0604020202020204" charset="0"/>
                <a:ea typeface="Aptos" panose="020B0004020202020204" pitchFamily="34" charset="0"/>
                <a:cs typeface="Times New Roman" panose="02020603050405020304" pitchFamily="18" charset="0"/>
              </a:rPr>
              <a:t>Batteries</a:t>
            </a:r>
            <a:r>
              <a:rPr lang="en-DE" sz="1200" kern="100">
                <a:effectLst/>
                <a:latin typeface="Sofia Sans" panose="020B0604020202020204" charset="0"/>
                <a:ea typeface="Aptos" panose="020B0004020202020204" pitchFamily="34" charset="0"/>
                <a:cs typeface="Times New Roman" panose="02020603050405020304" pitchFamily="18" charset="0"/>
              </a:rPr>
              <a:t>: Store surplus electricity for later use, offering backup power, grid stabilization, and support during peak demand.</a:t>
            </a:r>
            <a:endParaRPr lang="de-DE" sz="1200" kern="100">
              <a:effectLst/>
              <a:latin typeface="Sofia Sans" panose="020B0604020202020204" charset="0"/>
              <a:ea typeface="Aptos" panose="020B0004020202020204" pitchFamily="34" charset="0"/>
              <a:cs typeface="Times New Roman" panose="02020603050405020304" pitchFamily="18" charset="0"/>
            </a:endParaRPr>
          </a:p>
          <a:p>
            <a:pPr marL="288000" indent="-228600">
              <a:lnSpc>
                <a:spcPct val="100000"/>
              </a:lnSpc>
              <a:spcAft>
                <a:spcPts val="800"/>
              </a:spcAft>
              <a:buClr>
                <a:schemeClr val="accent5"/>
              </a:buClr>
              <a:buSzPct val="121000"/>
              <a:buFont typeface="+mj-lt"/>
              <a:buAutoNum type="arabicPeriod"/>
              <a:tabLst>
                <a:tab pos="457200" algn="l"/>
              </a:tabLst>
            </a:pPr>
            <a:r>
              <a:rPr lang="en-DE" sz="1200" b="1">
                <a:latin typeface="Sofia Sans" panose="020B0604020202020204" charset="0"/>
                <a:cs typeface="Times New Roman" panose="02020603050405020304" pitchFamily="18" charset="0"/>
              </a:rPr>
              <a:t>Pumped Hydro: </a:t>
            </a:r>
            <a:r>
              <a:rPr lang="en-DE" sz="1200">
                <a:latin typeface="Sofia Sans" panose="020B0604020202020204" charset="0"/>
                <a:cs typeface="Times New Roman" panose="02020603050405020304" pitchFamily="18" charset="0"/>
              </a:rPr>
              <a:t>Use water reservoirs for large-scale energy storage.</a:t>
            </a:r>
            <a:endParaRPr lang="de-DE" sz="1200">
              <a:latin typeface="Sofia Sans" panose="020B0604020202020204" charset="0"/>
              <a:cs typeface="Times New Roman" panose="02020603050405020304" pitchFamily="18" charset="0"/>
            </a:endParaRPr>
          </a:p>
          <a:p>
            <a:pPr marL="288000" indent="-228600">
              <a:lnSpc>
                <a:spcPct val="100000"/>
              </a:lnSpc>
              <a:spcAft>
                <a:spcPts val="800"/>
              </a:spcAft>
              <a:buClr>
                <a:schemeClr val="accent5"/>
              </a:buClr>
              <a:buSzPct val="121000"/>
              <a:buFont typeface="+mj-lt"/>
              <a:buAutoNum type="arabicPeriod"/>
              <a:tabLst>
                <a:tab pos="457200" algn="l"/>
              </a:tabLst>
            </a:pPr>
            <a:r>
              <a:rPr lang="en-DE" sz="1200" b="1">
                <a:effectLst/>
                <a:latin typeface="Sofia Sans" panose="020B0604020202020204" charset="0"/>
                <a:ea typeface="Aptos" panose="020B0004020202020204" pitchFamily="34" charset="0"/>
                <a:cs typeface="Times New Roman" panose="02020603050405020304" pitchFamily="18" charset="0"/>
              </a:rPr>
              <a:t>Peaker Plants</a:t>
            </a:r>
            <a:r>
              <a:rPr lang="en-DE" sz="1200">
                <a:effectLst/>
                <a:latin typeface="Sofia Sans" panose="020B0604020202020204" charset="0"/>
                <a:ea typeface="Aptos" panose="020B0004020202020204" pitchFamily="34" charset="0"/>
                <a:cs typeface="Times New Roman" panose="02020603050405020304" pitchFamily="18" charset="0"/>
              </a:rPr>
              <a:t>: Provide rapid, short-term energy during high-demand periods. Examples include natural gas turbines, diesel generators, renewable pumped hydro storage, and biomass power plants.</a:t>
            </a:r>
            <a:endParaRPr lang="en-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228600">
              <a:lnSpc>
                <a:spcPct val="100000"/>
              </a:lnSpc>
              <a:spcAft>
                <a:spcPts val="800"/>
              </a:spcAft>
              <a:buClr>
                <a:schemeClr val="accent5"/>
              </a:buClr>
              <a:buSzPct val="121000"/>
              <a:buFont typeface="+mj-lt"/>
              <a:buAutoNum type="arabicPeriod"/>
              <a:tabLst>
                <a:tab pos="457200" algn="l"/>
              </a:tabLst>
            </a:pPr>
            <a:r>
              <a:rPr lang="de-DE" sz="1200" b="1" kern="100">
                <a:effectLst/>
                <a:latin typeface="Sofia Sans" panose="020B0604020202020204" charset="0"/>
                <a:ea typeface="Aptos" panose="020B0004020202020204" pitchFamily="34" charset="0"/>
                <a:cs typeface="Times New Roman" panose="02020603050405020304" pitchFamily="18" charset="0"/>
              </a:rPr>
              <a:t>Demand-Side Management (DSM)</a:t>
            </a:r>
            <a:r>
              <a:rPr lang="en-DE" sz="1200" kern="100">
                <a:effectLst/>
                <a:latin typeface="Sofia Sans" panose="020B0604020202020204" charset="0"/>
                <a:ea typeface="Aptos" panose="020B0004020202020204" pitchFamily="34" charset="0"/>
                <a:cs typeface="Times New Roman" panose="02020603050405020304" pitchFamily="18" charset="0"/>
              </a:rPr>
              <a:t>: </a:t>
            </a:r>
            <a:r>
              <a:rPr lang="de-DE" sz="1200" kern="100">
                <a:effectLst/>
                <a:latin typeface="Sofia Sans" panose="020B0604020202020204" charset="0"/>
                <a:ea typeface="Aptos" panose="020B0004020202020204" pitchFamily="34" charset="0"/>
                <a:cs typeface="Times New Roman" panose="02020603050405020304" pitchFamily="18" charset="0"/>
              </a:rPr>
              <a:t>Load Shifting: </a:t>
            </a:r>
            <a:r>
              <a:rPr lang="de-DE" sz="1200" kern="100" err="1">
                <a:effectLst/>
                <a:latin typeface="Sofia Sans" panose="020B0604020202020204" charset="0"/>
                <a:ea typeface="Aptos" panose="020B0004020202020204" pitchFamily="34" charset="0"/>
                <a:cs typeface="Times New Roman" panose="02020603050405020304" pitchFamily="18" charset="0"/>
              </a:rPr>
              <a:t>move</a:t>
            </a:r>
            <a:r>
              <a:rPr lang="de-DE" sz="1200" kern="100">
                <a:effectLst/>
                <a:latin typeface="Sofia Sans" panose="020B0604020202020204" charset="0"/>
                <a:ea typeface="Aptos" panose="020B0004020202020204" pitchFamily="34" charset="0"/>
                <a:cs typeface="Times New Roman" panose="02020603050405020304" pitchFamily="18" charset="0"/>
              </a:rPr>
              <a:t> </a:t>
            </a:r>
            <a:r>
              <a:rPr lang="de-DE" sz="1200" kern="100" err="1">
                <a:effectLst/>
                <a:latin typeface="Sofia Sans" panose="020B0604020202020204" charset="0"/>
                <a:ea typeface="Aptos" panose="020B0004020202020204" pitchFamily="34" charset="0"/>
                <a:cs typeface="Times New Roman" panose="02020603050405020304" pitchFamily="18" charset="0"/>
              </a:rPr>
              <a:t>consumption</a:t>
            </a:r>
            <a:r>
              <a:rPr lang="de-DE" sz="1200" kern="100">
                <a:effectLst/>
                <a:latin typeface="Sofia Sans" panose="020B0604020202020204" charset="0"/>
                <a:ea typeface="Aptos" panose="020B0004020202020204" pitchFamily="34" charset="0"/>
                <a:cs typeface="Times New Roman" panose="02020603050405020304" pitchFamily="18" charset="0"/>
              </a:rPr>
              <a:t> </a:t>
            </a:r>
            <a:r>
              <a:rPr lang="de-DE" sz="1200" kern="100" err="1">
                <a:effectLst/>
                <a:latin typeface="Sofia Sans" panose="020B0604020202020204" charset="0"/>
                <a:ea typeface="Aptos" panose="020B0004020202020204" pitchFamily="34" charset="0"/>
                <a:cs typeface="Times New Roman" panose="02020603050405020304" pitchFamily="18" charset="0"/>
              </a:rPr>
              <a:t>to</a:t>
            </a:r>
            <a:r>
              <a:rPr lang="de-DE" sz="1200" kern="100">
                <a:effectLst/>
                <a:latin typeface="Sofia Sans" panose="020B0604020202020204" charset="0"/>
                <a:ea typeface="Aptos" panose="020B0004020202020204" pitchFamily="34" charset="0"/>
                <a:cs typeface="Times New Roman" panose="02020603050405020304" pitchFamily="18" charset="0"/>
              </a:rPr>
              <a:t> </a:t>
            </a:r>
            <a:r>
              <a:rPr lang="de-DE" sz="1200" kern="100" err="1">
                <a:effectLst/>
                <a:latin typeface="Sofia Sans" panose="020B0604020202020204" charset="0"/>
                <a:ea typeface="Aptos" panose="020B0004020202020204" pitchFamily="34" charset="0"/>
                <a:cs typeface="Times New Roman" panose="02020603050405020304" pitchFamily="18" charset="0"/>
              </a:rPr>
              <a:t>low</a:t>
            </a:r>
            <a:r>
              <a:rPr lang="de-DE" sz="1200" kern="100" err="1">
                <a:latin typeface="Sofia Sans" panose="020B0604020202020204" charset="0"/>
                <a:ea typeface="Aptos" panose="020B0004020202020204" pitchFamily="34" charset="0"/>
                <a:cs typeface="Times New Roman" panose="02020603050405020304" pitchFamily="18" charset="0"/>
              </a:rPr>
              <a:t>-demand</a:t>
            </a:r>
            <a:r>
              <a:rPr lang="de-DE" sz="1200" kern="100">
                <a:latin typeface="Sofia Sans" panose="020B0604020202020204" charset="0"/>
                <a:ea typeface="Aptos" panose="020B0004020202020204" pitchFamily="34" charset="0"/>
                <a:cs typeface="Times New Roman" panose="02020603050405020304" pitchFamily="18" charset="0"/>
              </a:rPr>
              <a:t> </a:t>
            </a:r>
            <a:r>
              <a:rPr lang="de-DE" sz="1200" kern="100" err="1">
                <a:latin typeface="Sofia Sans" panose="020B0604020202020204" charset="0"/>
                <a:ea typeface="Aptos" panose="020B0004020202020204" pitchFamily="34" charset="0"/>
                <a:cs typeface="Times New Roman" panose="02020603050405020304" pitchFamily="18" charset="0"/>
              </a:rPr>
              <a:t>periods</a:t>
            </a:r>
            <a:r>
              <a:rPr lang="de-DE" sz="1200" kern="100">
                <a:latin typeface="Sofia Sans" panose="020B0604020202020204" charset="0"/>
                <a:ea typeface="Aptos" panose="020B0004020202020204" pitchFamily="34" charset="0"/>
                <a:cs typeface="Times New Roman" panose="02020603050405020304" pitchFamily="18" charset="0"/>
              </a:rPr>
              <a:t>.</a:t>
            </a:r>
            <a:endParaRPr lang="de-DE" sz="1200" kern="100">
              <a:effectLst/>
              <a:latin typeface="Sofia Sans" panose="020B0604020202020204" charset="0"/>
              <a:ea typeface="Aptos" panose="020B0004020202020204" pitchFamily="34" charset="0"/>
              <a:cs typeface="Times New Roman" panose="02020603050405020304" pitchFamily="18" charset="0"/>
            </a:endParaRPr>
          </a:p>
          <a:p>
            <a:pPr marL="288000" lvl="0" indent="-228600">
              <a:lnSpc>
                <a:spcPct val="100000"/>
              </a:lnSpc>
              <a:spcAft>
                <a:spcPts val="800"/>
              </a:spcAft>
              <a:buClr>
                <a:schemeClr val="accent5"/>
              </a:buClr>
              <a:buSzPct val="121000"/>
              <a:buFont typeface="+mj-lt"/>
              <a:buAutoNum type="arabicPeriod"/>
              <a:tabLst>
                <a:tab pos="457200" algn="l"/>
              </a:tabLst>
            </a:pPr>
            <a:r>
              <a:rPr lang="en-DE" sz="1200" b="1">
                <a:latin typeface="Sofia Sans" panose="020B0604020202020204" charset="0"/>
                <a:cs typeface="Times New Roman" panose="02020603050405020304" pitchFamily="18" charset="0"/>
              </a:rPr>
              <a:t>Grid Interconnections: </a:t>
            </a:r>
            <a:r>
              <a:rPr lang="en-DE" sz="1200">
                <a:latin typeface="Sofia Sans" panose="020B0604020202020204" charset="0"/>
                <a:cs typeface="Times New Roman" panose="02020603050405020304" pitchFamily="18" charset="0"/>
              </a:rPr>
              <a:t>Share surplus or import electricity across regions</a:t>
            </a:r>
            <a:r>
              <a:rPr lang="de-DE" sz="1200">
                <a:latin typeface="Sofia Sans" panose="020B0604020202020204" charset="0"/>
                <a:cs typeface="Times New Roman" panose="02020603050405020304" pitchFamily="18" charset="0"/>
              </a:rPr>
              <a:t>.</a:t>
            </a:r>
            <a:endParaRPr lang="de-DE" sz="1200">
              <a:effectLst/>
              <a:latin typeface="Sofia Sans" panose="020B0604020202020204" charset="0"/>
              <a:ea typeface="Aptos" panose="020B0004020202020204" pitchFamily="34" charset="0"/>
              <a:cs typeface="Times New Roman" panose="02020603050405020304" pitchFamily="18" charset="0"/>
            </a:endParaRPr>
          </a:p>
          <a:p>
            <a:pPr marL="0" lvl="0" indent="0">
              <a:lnSpc>
                <a:spcPct val="100000"/>
              </a:lnSpc>
              <a:spcAft>
                <a:spcPts val="800"/>
              </a:spcAft>
              <a:buClr>
                <a:schemeClr val="accent5"/>
              </a:buClr>
              <a:buSzPct val="121000"/>
              <a:tabLst>
                <a:tab pos="457200" algn="l"/>
              </a:tabLst>
            </a:pPr>
            <a:endParaRPr lang="de-DE" sz="1200" b="1">
              <a:latin typeface="Sofia Sans" panose="020B0604020202020204" charset="0"/>
              <a:cs typeface="Times New Roman" panose="02020603050405020304" pitchFamily="18" charset="0"/>
            </a:endParaRPr>
          </a:p>
        </p:txBody>
      </p:sp>
    </p:spTree>
    <p:extLst>
      <p:ext uri="{BB962C8B-B14F-4D97-AF65-F5344CB8AC3E}">
        <p14:creationId xmlns:p14="http://schemas.microsoft.com/office/powerpoint/2010/main" val="11500754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C5148-E0D1-A3E7-6177-67CFB80FC12A}"/>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C48A19A-20F5-1244-C45A-25C79C32CC40}"/>
              </a:ext>
            </a:extLst>
          </p:cNvPr>
          <p:cNvSpPr>
            <a:spLocks noGrp="1"/>
          </p:cNvSpPr>
          <p:nvPr>
            <p:ph type="sldNum" sz="quarter" idx="4"/>
          </p:nvPr>
        </p:nvSpPr>
        <p:spPr/>
        <p:txBody>
          <a:bodyPr/>
          <a:lstStyle/>
          <a:p>
            <a:fld id="{DF7F771E-9578-4C04-B869-01AF4C35C90C}" type="slidenum">
              <a:rPr lang="de-DE" smtClean="0"/>
              <a:t>79</a:t>
            </a:fld>
            <a:endParaRPr lang="de-DE"/>
          </a:p>
        </p:txBody>
      </p:sp>
      <p:sp>
        <p:nvSpPr>
          <p:cNvPr id="4" name="Titel 1">
            <a:extLst>
              <a:ext uri="{FF2B5EF4-FFF2-40B4-BE49-F238E27FC236}">
                <a16:creationId xmlns:a16="http://schemas.microsoft.com/office/drawing/2014/main" id="{150EA596-6EA4-EC44-A81E-ECB82FE649B6}"/>
              </a:ext>
            </a:extLst>
          </p:cNvPr>
          <p:cNvSpPr>
            <a:spLocks noGrp="1"/>
          </p:cNvSpPr>
          <p:nvPr>
            <p:ph type="title"/>
          </p:nvPr>
        </p:nvSpPr>
        <p:spPr>
          <a:xfrm>
            <a:off x="719138" y="1277938"/>
            <a:ext cx="6380336" cy="1083315"/>
          </a:xfrm>
        </p:spPr>
        <p:txBody>
          <a:bodyPr/>
          <a:lstStyle/>
          <a:p>
            <a:r>
              <a:rPr lang="de-DE"/>
              <a:t>Design an energy grid game</a:t>
            </a:r>
          </a:p>
        </p:txBody>
      </p:sp>
      <p:sp>
        <p:nvSpPr>
          <p:cNvPr id="6" name="Untertitel 3">
            <a:extLst>
              <a:ext uri="{FF2B5EF4-FFF2-40B4-BE49-F238E27FC236}">
                <a16:creationId xmlns:a16="http://schemas.microsoft.com/office/drawing/2014/main" id="{5C9EDD7F-21A1-D76F-764F-FEAE4A7832A1}"/>
              </a:ext>
            </a:extLst>
          </p:cNvPr>
          <p:cNvSpPr txBox="1">
            <a:spLocks/>
          </p:cNvSpPr>
          <p:nvPr/>
        </p:nvSpPr>
        <p:spPr>
          <a:xfrm>
            <a:off x="719137" y="2036774"/>
            <a:ext cx="5742797" cy="8296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200"/>
              <a:t>Now you will design and operate a simulated power grid, making decisions about energy generation, storage, and connectivity to meet the demand of a central grid while dealing with variability in energy sources.</a:t>
            </a:r>
            <a:endParaRPr lang="de-DE" sz="1200"/>
          </a:p>
        </p:txBody>
      </p:sp>
      <p:sp>
        <p:nvSpPr>
          <p:cNvPr id="11" name="Untertitel 3">
            <a:extLst>
              <a:ext uri="{FF2B5EF4-FFF2-40B4-BE49-F238E27FC236}">
                <a16:creationId xmlns:a16="http://schemas.microsoft.com/office/drawing/2014/main" id="{079468FD-DA7F-A72E-6E30-960A62F07ED6}"/>
              </a:ext>
            </a:extLst>
          </p:cNvPr>
          <p:cNvSpPr txBox="1">
            <a:spLocks/>
          </p:cNvSpPr>
          <p:nvPr/>
        </p:nvSpPr>
        <p:spPr>
          <a:xfrm>
            <a:off x="763615" y="3827884"/>
            <a:ext cx="5883912" cy="327195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a:latin typeface="Sofia Sans" panose="020B0604020202020204" charset="0"/>
              </a:rPr>
              <a:t>Materials Needed:</a:t>
            </a:r>
          </a:p>
          <a:p>
            <a:pPr>
              <a:buClr>
                <a:srgbClr val="4E749C"/>
              </a:buClr>
              <a:buFont typeface="Arial" panose="020B0604020202020204" pitchFamily="34" charset="0"/>
              <a:buChar char="•"/>
            </a:pPr>
            <a:r>
              <a:rPr lang="en-US" sz="1200">
                <a:latin typeface="Sofia Sans" panose="020B0604020202020204" charset="0"/>
              </a:rPr>
              <a:t>Grid template (provided in the workbook).</a:t>
            </a:r>
          </a:p>
          <a:p>
            <a:pPr>
              <a:buClr>
                <a:srgbClr val="4E749C"/>
              </a:buClr>
              <a:buFont typeface="Arial" panose="020B0604020202020204" pitchFamily="34" charset="0"/>
              <a:buChar char="•"/>
            </a:pPr>
            <a:r>
              <a:rPr lang="en-US" sz="1200">
                <a:latin typeface="Sofia Sans" panose="020B0604020202020204" charset="0"/>
              </a:rPr>
              <a:t>Markers or pens.</a:t>
            </a:r>
          </a:p>
          <a:p>
            <a:pPr>
              <a:buClr>
                <a:srgbClr val="4E749C"/>
              </a:buClr>
              <a:buFont typeface="Arial" panose="020B0604020202020204" pitchFamily="34" charset="0"/>
              <a:buChar char="•"/>
            </a:pPr>
            <a:r>
              <a:rPr lang="en-US" sz="1200">
                <a:latin typeface="Sofia Sans" panose="020B0604020202020204" charset="0"/>
              </a:rPr>
              <a:t>Notebook</a:t>
            </a:r>
          </a:p>
          <a:p>
            <a:endParaRPr lang="en-US" sz="1200">
              <a:latin typeface="Sofia Sans" panose="020B0604020202020204" charset="0"/>
            </a:endParaRPr>
          </a:p>
          <a:p>
            <a:r>
              <a:rPr lang="en-US" sz="1200" b="1">
                <a:latin typeface="Sofia Sans" panose="020B0604020202020204" charset="0"/>
              </a:rPr>
              <a:t>Instructions </a:t>
            </a:r>
          </a:p>
          <a:p>
            <a:pPr marL="139700" indent="0">
              <a:lnSpc>
                <a:spcPct val="150000"/>
              </a:lnSpc>
              <a:buClr>
                <a:schemeClr val="accent5"/>
              </a:buClr>
              <a:buSzPct val="121000"/>
            </a:pPr>
            <a:r>
              <a:rPr lang="en-US" sz="1200">
                <a:latin typeface="Sofia Sans" panose="020B0604020202020204" charset="0"/>
              </a:rPr>
              <a:t>You are given a blank grid template with three energy zones (Solar, Wind, Hydro) and one central demand zone.</a:t>
            </a:r>
          </a:p>
          <a:p>
            <a:pPr marL="368300" indent="-228600">
              <a:lnSpc>
                <a:spcPct val="150000"/>
              </a:lnSpc>
              <a:buClr>
                <a:schemeClr val="accent5"/>
              </a:buClr>
              <a:buSzPct val="121000"/>
              <a:buFont typeface="+mj-lt"/>
              <a:buAutoNum type="arabicPeriod"/>
            </a:pPr>
            <a:r>
              <a:rPr lang="en-US" sz="1200">
                <a:latin typeface="Sofia Sans" panose="020B0604020202020204" charset="0"/>
              </a:rPr>
              <a:t>Draw connections between the energy zones and the central demand zone.</a:t>
            </a:r>
          </a:p>
          <a:p>
            <a:pPr marL="368300" indent="-228600">
              <a:lnSpc>
                <a:spcPct val="150000"/>
              </a:lnSpc>
              <a:buClr>
                <a:schemeClr val="accent5"/>
              </a:buClr>
              <a:buSzPct val="121000"/>
              <a:buFont typeface="+mj-lt"/>
              <a:buAutoNum type="arabicPeriod"/>
            </a:pPr>
            <a:r>
              <a:rPr lang="en-US" sz="1200">
                <a:latin typeface="Sofia Sans" panose="020B0604020202020204" charset="0"/>
              </a:rPr>
              <a:t>Decide whether to connect a battery storage and where to place it.</a:t>
            </a:r>
          </a:p>
          <a:p>
            <a:pPr marL="139700" indent="0">
              <a:lnSpc>
                <a:spcPct val="150000"/>
              </a:lnSpc>
              <a:buClr>
                <a:schemeClr val="accent5"/>
              </a:buClr>
              <a:buSzPct val="121000"/>
            </a:pPr>
            <a:r>
              <a:rPr lang="en-US" sz="1200">
                <a:latin typeface="Sofia Sans" panose="020B0604020202020204" charset="0"/>
              </a:rPr>
              <a:t>Each connection will cost one energy token per round.</a:t>
            </a:r>
          </a:p>
          <a:p>
            <a:pPr marL="368300" indent="-228600">
              <a:lnSpc>
                <a:spcPct val="150000"/>
              </a:lnSpc>
              <a:buClr>
                <a:schemeClr val="accent5"/>
              </a:buClr>
              <a:buSzPct val="121000"/>
              <a:buFont typeface="+mj-lt"/>
              <a:buAutoNum type="arabicPeriod"/>
            </a:pPr>
            <a:endParaRPr lang="en-US" sz="1200">
              <a:latin typeface="Sofia Sans" panose="020B0604020202020204" charset="0"/>
            </a:endParaRPr>
          </a:p>
          <a:p>
            <a:pPr marL="139700" indent="0">
              <a:lnSpc>
                <a:spcPct val="150000"/>
              </a:lnSpc>
              <a:buClr>
                <a:schemeClr val="accent5"/>
              </a:buClr>
              <a:buSzPct val="121000"/>
            </a:pPr>
            <a:r>
              <a:rPr lang="en-US" sz="1200" b="1">
                <a:latin typeface="Sofia Sans" panose="020B0604020202020204" charset="0"/>
              </a:rPr>
              <a:t>Grid template</a:t>
            </a:r>
          </a:p>
        </p:txBody>
      </p:sp>
      <p:grpSp>
        <p:nvGrpSpPr>
          <p:cNvPr id="13" name="Gruppieren 12">
            <a:extLst>
              <a:ext uri="{FF2B5EF4-FFF2-40B4-BE49-F238E27FC236}">
                <a16:creationId xmlns:a16="http://schemas.microsoft.com/office/drawing/2014/main" id="{FCDF741B-01C9-39DD-C9F7-D36A7A24F28A}"/>
              </a:ext>
            </a:extLst>
          </p:cNvPr>
          <p:cNvGrpSpPr/>
          <p:nvPr/>
        </p:nvGrpSpPr>
        <p:grpSpPr>
          <a:xfrm>
            <a:off x="719138" y="3107079"/>
            <a:ext cx="2000022" cy="480127"/>
            <a:chOff x="717779" y="1922947"/>
            <a:chExt cx="2000022" cy="480127"/>
          </a:xfrm>
        </p:grpSpPr>
        <p:sp>
          <p:nvSpPr>
            <p:cNvPr id="14" name="Untertitel 5">
              <a:extLst>
                <a:ext uri="{FF2B5EF4-FFF2-40B4-BE49-F238E27FC236}">
                  <a16:creationId xmlns:a16="http://schemas.microsoft.com/office/drawing/2014/main" id="{9D770433-F3E1-F050-4823-FD568E15ECD6}"/>
                </a:ext>
              </a:extLst>
            </p:cNvPr>
            <p:cNvSpPr txBox="1">
              <a:spLocks/>
            </p:cNvSpPr>
            <p:nvPr/>
          </p:nvSpPr>
          <p:spPr>
            <a:xfrm>
              <a:off x="1136421" y="1928883"/>
              <a:ext cx="158138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5" name="Ellipse 14">
              <a:extLst>
                <a:ext uri="{FF2B5EF4-FFF2-40B4-BE49-F238E27FC236}">
                  <a16:creationId xmlns:a16="http://schemas.microsoft.com/office/drawing/2014/main" id="{296FD8BA-36F5-0852-2E8B-D0A2838CFD7A}"/>
                </a:ext>
              </a:extLst>
            </p:cNvPr>
            <p:cNvSpPr>
              <a:spLocks noChangeAspect="1"/>
            </p:cNvSpPr>
            <p:nvPr/>
          </p:nvSpPr>
          <p:spPr>
            <a:xfrm>
              <a:off x="717779" y="1922947"/>
              <a:ext cx="480127" cy="480127"/>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Skizze mit einfarbiger Füllung">
              <a:extLst>
                <a:ext uri="{FF2B5EF4-FFF2-40B4-BE49-F238E27FC236}">
                  <a16:creationId xmlns:a16="http://schemas.microsoft.com/office/drawing/2014/main" id="{AA783F83-4E78-9523-C6DA-846F176E1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256" y="1986679"/>
              <a:ext cx="379044" cy="379044"/>
            </a:xfrm>
            <a:prstGeom prst="rect">
              <a:avLst/>
            </a:prstGeom>
          </p:spPr>
        </p:pic>
      </p:grpSp>
      <p:pic>
        <p:nvPicPr>
          <p:cNvPr id="5" name="Picture 4" descr="A set of icons of energy sources&#10;&#10;Description automatically generated">
            <a:extLst>
              <a:ext uri="{FF2B5EF4-FFF2-40B4-BE49-F238E27FC236}">
                <a16:creationId xmlns:a16="http://schemas.microsoft.com/office/drawing/2014/main" id="{8BE08198-FAC7-4AD3-2FBB-E16FCF8921A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53288" b="71388" l="28607" r="46532"/>
                    </a14:imgEffect>
                  </a14:imgLayer>
                </a14:imgProps>
              </a:ext>
            </a:extLst>
          </a:blip>
          <a:srcRect l="28954" t="52709" r="52924" b="28766"/>
          <a:stretch/>
        </p:blipFill>
        <p:spPr>
          <a:xfrm>
            <a:off x="1353415" y="7396062"/>
            <a:ext cx="719075" cy="709876"/>
          </a:xfrm>
          <a:prstGeom prst="rect">
            <a:avLst/>
          </a:prstGeom>
        </p:spPr>
      </p:pic>
      <p:pic>
        <p:nvPicPr>
          <p:cNvPr id="7" name="Picture 6" descr="A set of icons of energy sources&#10;&#10;Description automatically generated">
            <a:extLst>
              <a:ext uri="{FF2B5EF4-FFF2-40B4-BE49-F238E27FC236}">
                <a16:creationId xmlns:a16="http://schemas.microsoft.com/office/drawing/2014/main" id="{14DF64C7-EAB9-3C08-CC09-5D97123056B3}"/>
              </a:ext>
            </a:extLst>
          </p:cNvPr>
          <p:cNvPicPr>
            <a:picLocks noChangeAspect="1"/>
          </p:cNvPicPr>
          <p:nvPr/>
        </p:nvPicPr>
        <p:blipFill>
          <a:blip r:embed="rId6">
            <a:extLst>
              <a:ext uri="{BEBA8EAE-BF5A-486C-A8C5-ECC9F3942E4B}">
                <a14:imgProps xmlns:a14="http://schemas.microsoft.com/office/drawing/2010/main">
                  <a14:imgLayer r:embed="rId5">
                    <a14:imgEffect>
                      <a14:backgroundRemoval t="5549" b="21755" l="57037" r="72205">
                        <a14:foregroundMark x1="57241" y1="18664" x2="57241" y2="18664"/>
                        <a14:foregroundMark x1="57148" y1="18760" x2="57352" y2="17281"/>
                        <a14:foregroundMark x1="57055" y1="17972" x2="57630" y2="17281"/>
                        <a14:foregroundMark x1="66419" y1="8967" x2="66494" y2="9140"/>
                        <a14:foregroundMark x1="67050" y1="7162" x2="67050" y2="7162"/>
                        <a14:foregroundMark x1="69034" y1="6260" x2="69034" y2="6260"/>
                        <a14:foregroundMark x1="70944" y1="7124" x2="70944" y2="7124"/>
                        <a14:foregroundMark x1="71704" y1="9140" x2="71704" y2="9140"/>
                        <a14:foregroundMark x1="70944" y1="11022" x2="70944" y2="11022"/>
                        <a14:foregroundMark x1="69164" y1="5549" x2="69164" y2="5549"/>
                      </a14:backgroundRemoval>
                    </a14:imgEffect>
                  </a14:imgLayer>
                </a14:imgProps>
              </a:ext>
            </a:extLst>
          </a:blip>
          <a:srcRect l="55913" t="4346" r="25965" b="76296"/>
          <a:stretch/>
        </p:blipFill>
        <p:spPr>
          <a:xfrm>
            <a:off x="1335745" y="8226099"/>
            <a:ext cx="719075" cy="741783"/>
          </a:xfrm>
          <a:prstGeom prst="rect">
            <a:avLst/>
          </a:prstGeom>
        </p:spPr>
      </p:pic>
      <p:pic>
        <p:nvPicPr>
          <p:cNvPr id="8" name="Picture 7" descr="A set of icons of energy sources&#10;&#10;Description automatically generated">
            <a:extLst>
              <a:ext uri="{FF2B5EF4-FFF2-40B4-BE49-F238E27FC236}">
                <a16:creationId xmlns:a16="http://schemas.microsoft.com/office/drawing/2014/main" id="{84BAD7AD-2537-EEAB-FBF6-EE469877B56E}"/>
              </a:ext>
            </a:extLst>
          </p:cNvPr>
          <p:cNvPicPr>
            <a:picLocks noChangeAspect="1"/>
          </p:cNvPicPr>
          <p:nvPr/>
        </p:nvPicPr>
        <p:blipFill>
          <a:blip r:embed="rId7">
            <a:extLst>
              <a:ext uri="{BEBA8EAE-BF5A-486C-A8C5-ECC9F3942E4B}">
                <a14:imgProps xmlns:a14="http://schemas.microsoft.com/office/drawing/2010/main">
                  <a14:imgLayer r:embed="rId5">
                    <a14:imgEffect>
                      <a14:backgroundRemoval t="3322" b="21179" l="79807" r="97015">
                        <a14:foregroundMark x1="80512" y1="15476" x2="80512" y2="15476"/>
                        <a14:foregroundMark x1="86835" y1="4128" x2="86835" y2="4128"/>
                        <a14:foregroundMark x1="86909" y1="3341" x2="86909" y2="3341"/>
                        <a14:foregroundMark x1="91990" y1="5626" x2="91990" y2="5626"/>
                        <a14:foregroundMark x1="96347" y1="14305" x2="96347" y2="14305"/>
                        <a14:foregroundMark x1="97015" y1="14727" x2="97015" y2="14727"/>
                        <a14:foregroundMark x1="87484" y1="21121" x2="87484" y2="21121"/>
                        <a14:foregroundMark x1="92231" y1="18376" x2="92156" y2="18452"/>
                        <a14:foregroundMark x1="79807" y1="15899" x2="79807" y2="15899"/>
                      </a14:backgroundRemoval>
                    </a14:imgEffect>
                  </a14:imgLayer>
                </a14:imgProps>
              </a:ext>
            </a:extLst>
          </a:blip>
          <a:srcRect l="78804" t="2272" r="1834" b="76692"/>
          <a:stretch/>
        </p:blipFill>
        <p:spPr>
          <a:xfrm>
            <a:off x="1318076" y="9088043"/>
            <a:ext cx="754414" cy="699492"/>
          </a:xfrm>
          <a:prstGeom prst="rect">
            <a:avLst/>
          </a:prstGeom>
        </p:spPr>
      </p:pic>
      <p:sp>
        <p:nvSpPr>
          <p:cNvPr id="10" name="Rectangle: Rounded Corners 9">
            <a:extLst>
              <a:ext uri="{FF2B5EF4-FFF2-40B4-BE49-F238E27FC236}">
                <a16:creationId xmlns:a16="http://schemas.microsoft.com/office/drawing/2014/main" id="{78FB0CE3-143E-9035-F8BE-A0F58E1CC381}"/>
              </a:ext>
            </a:extLst>
          </p:cNvPr>
          <p:cNvSpPr/>
          <p:nvPr/>
        </p:nvSpPr>
        <p:spPr>
          <a:xfrm>
            <a:off x="842682" y="7166445"/>
            <a:ext cx="5883912" cy="2804280"/>
          </a:xfrm>
          <a:prstGeom prst="roundRect">
            <a:avLst/>
          </a:prstGeom>
          <a:noFill/>
          <a:ln>
            <a:solidFill>
              <a:srgbClr val="4E74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3A7F959-F6FB-07B6-998B-2246B5160E8D}"/>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3316060" y="9204779"/>
            <a:ext cx="779021" cy="582756"/>
          </a:xfrm>
          <a:prstGeom prst="rect">
            <a:avLst/>
          </a:prstGeom>
        </p:spPr>
      </p:pic>
      <p:grpSp>
        <p:nvGrpSpPr>
          <p:cNvPr id="2" name="Gruppieren 1">
            <a:extLst>
              <a:ext uri="{FF2B5EF4-FFF2-40B4-BE49-F238E27FC236}">
                <a16:creationId xmlns:a16="http://schemas.microsoft.com/office/drawing/2014/main" id="{305F6F8A-B9D2-4226-16E3-CE3512FA24B8}"/>
              </a:ext>
            </a:extLst>
          </p:cNvPr>
          <p:cNvGrpSpPr/>
          <p:nvPr/>
        </p:nvGrpSpPr>
        <p:grpSpPr>
          <a:xfrm>
            <a:off x="4723425" y="7735079"/>
            <a:ext cx="1356756" cy="741717"/>
            <a:chOff x="4674393" y="8183111"/>
            <a:chExt cx="1787542" cy="1082012"/>
          </a:xfrm>
        </p:grpSpPr>
        <p:pic>
          <p:nvPicPr>
            <p:cNvPr id="19" name="Picture 18" descr="A cartoon of buildings and trees&#10;&#10;Description automatically generated">
              <a:extLst>
                <a:ext uri="{FF2B5EF4-FFF2-40B4-BE49-F238E27FC236}">
                  <a16:creationId xmlns:a16="http://schemas.microsoft.com/office/drawing/2014/main" id="{30289BC0-9560-D02A-8FE8-DB68271AAD9C}"/>
                </a:ext>
              </a:extLst>
            </p:cNvPr>
            <p:cNvPicPr>
              <a:picLocks noChangeAspect="1"/>
            </p:cNvPicPr>
            <p:nvPr/>
          </p:nvPicPr>
          <p:blipFill>
            <a:blip r:embed="rId10"/>
            <a:stretch>
              <a:fillRect/>
            </a:stretch>
          </p:blipFill>
          <p:spPr>
            <a:xfrm>
              <a:off x="5518827" y="8322015"/>
              <a:ext cx="943108" cy="943108"/>
            </a:xfrm>
            <a:prstGeom prst="rect">
              <a:avLst/>
            </a:prstGeom>
          </p:spPr>
        </p:pic>
        <p:pic>
          <p:nvPicPr>
            <p:cNvPr id="21" name="Picture 20" descr="A colorful buildings with trees&#10;&#10;Description automatically generated">
              <a:extLst>
                <a:ext uri="{FF2B5EF4-FFF2-40B4-BE49-F238E27FC236}">
                  <a16:creationId xmlns:a16="http://schemas.microsoft.com/office/drawing/2014/main" id="{A2E96EDC-86B5-1A7A-5678-8601504C95CB}"/>
                </a:ext>
              </a:extLst>
            </p:cNvPr>
            <p:cNvPicPr>
              <a:picLocks noChangeAspect="1"/>
            </p:cNvPicPr>
            <p:nvPr/>
          </p:nvPicPr>
          <p:blipFill>
            <a:blip r:embed="rId11"/>
            <a:stretch>
              <a:fillRect/>
            </a:stretch>
          </p:blipFill>
          <p:spPr>
            <a:xfrm>
              <a:off x="4674393" y="8183111"/>
              <a:ext cx="943108" cy="943108"/>
            </a:xfrm>
            <a:prstGeom prst="rect">
              <a:avLst/>
            </a:prstGeom>
          </p:spPr>
        </p:pic>
      </p:grpSp>
      <p:sp>
        <p:nvSpPr>
          <p:cNvPr id="23" name="TextBox 22">
            <a:extLst>
              <a:ext uri="{FF2B5EF4-FFF2-40B4-BE49-F238E27FC236}">
                <a16:creationId xmlns:a16="http://schemas.microsoft.com/office/drawing/2014/main" id="{836B5702-AA3A-BB5D-61C1-091984093DA5}"/>
              </a:ext>
            </a:extLst>
          </p:cNvPr>
          <p:cNvSpPr txBox="1"/>
          <p:nvPr/>
        </p:nvSpPr>
        <p:spPr>
          <a:xfrm>
            <a:off x="4632638" y="8404566"/>
            <a:ext cx="1744436" cy="388568"/>
          </a:xfrm>
          <a:prstGeom prst="rect">
            <a:avLst/>
          </a:prstGeom>
          <a:noFill/>
        </p:spPr>
        <p:txBody>
          <a:bodyPr wrap="square">
            <a:spAutoFit/>
          </a:bodyPr>
          <a:lstStyle/>
          <a:p>
            <a:pPr marL="139700" indent="0">
              <a:lnSpc>
                <a:spcPct val="150000"/>
              </a:lnSpc>
              <a:buClr>
                <a:schemeClr val="accent5"/>
              </a:buClr>
              <a:buSzPct val="121000"/>
            </a:pPr>
            <a:r>
              <a:rPr lang="en-US" sz="1400" b="1">
                <a:latin typeface="Sofia Sans" panose="020B0604020202020204" charset="0"/>
              </a:rPr>
              <a:t>Demand Center</a:t>
            </a:r>
          </a:p>
        </p:txBody>
      </p:sp>
    </p:spTree>
    <p:extLst>
      <p:ext uri="{BB962C8B-B14F-4D97-AF65-F5344CB8AC3E}">
        <p14:creationId xmlns:p14="http://schemas.microsoft.com/office/powerpoint/2010/main" val="1638968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
              <a:t>Hydro Energy</a:t>
            </a:r>
            <a:br>
              <a:rPr lang="en"/>
            </a:br>
            <a:r>
              <a:rPr lang="en"/>
              <a:t>Education HUB</a:t>
            </a:r>
            <a:endParaRPr lang="it-IT"/>
          </a:p>
          <a:p>
            <a:r>
              <a:rPr lang="en" b="0"/>
              <a:t>Chapter 1</a:t>
            </a:r>
            <a:endParaRPr b="0"/>
          </a:p>
        </p:txBody>
      </p:sp>
      <p:sp>
        <p:nvSpPr>
          <p:cNvPr id="327" name="Google Shape;327;p24"/>
          <p:cNvSpPr txBox="1">
            <a:spLocks noGrp="1"/>
          </p:cNvSpPr>
          <p:nvPr>
            <p:ph type="subTitle" idx="1"/>
          </p:nvPr>
        </p:nvSpPr>
        <p:spPr>
          <a:xfrm>
            <a:off x="2753754" y="5992363"/>
            <a:ext cx="4216106" cy="549115"/>
          </a:xfrm>
          <a:prstGeom prst="rect">
            <a:avLst/>
          </a:prstGeom>
          <a:solidFill>
            <a:schemeClr val="accent5">
              <a:lumMod val="20000"/>
              <a:lumOff val="80000"/>
            </a:schemeClr>
          </a:solidFill>
          <a:ln>
            <a:noFill/>
          </a:ln>
        </p:spPr>
        <p:txBody>
          <a:bodyPr spcFirstLastPara="1" wrap="square" lIns="75584" tIns="75584" rIns="75584" bIns="75584" anchor="ctr" anchorCtr="0">
            <a:noAutofit/>
          </a:bodyPr>
          <a:lstStyle/>
          <a:p>
            <a:pPr marL="0" indent="0"/>
            <a:r>
              <a:rPr lang="en" sz="2800" b="1"/>
              <a:t>Hydro Basics</a:t>
            </a:r>
          </a:p>
        </p:txBody>
      </p:sp>
      <p:sp>
        <p:nvSpPr>
          <p:cNvPr id="4" name="Rechteck 3">
            <a:extLst>
              <a:ext uri="{FF2B5EF4-FFF2-40B4-BE49-F238E27FC236}">
                <a16:creationId xmlns:a16="http://schemas.microsoft.com/office/drawing/2014/main" id="{FE70CA0E-25A9-C2AD-AE39-2001A076167F}"/>
              </a:ext>
            </a:extLst>
          </p:cNvPr>
          <p:cNvSpPr/>
          <p:nvPr/>
        </p:nvSpPr>
        <p:spPr>
          <a:xfrm>
            <a:off x="870038" y="4511940"/>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3BD4C45A-9326-0D67-F95B-A3B0F062B903}"/>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8" name="Picture 4" descr="Ein Bild, das Symbol, Grafiken, Logo, Schrift enthält.&#10;&#10;Automatisch generierte Beschreibung">
            <a:extLst>
              <a:ext uri="{FF2B5EF4-FFF2-40B4-BE49-F238E27FC236}">
                <a16:creationId xmlns:a16="http://schemas.microsoft.com/office/drawing/2014/main" id="{4D34A4F9-85E9-0F58-D22C-832574E955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434" y="4511940"/>
            <a:ext cx="1977141" cy="197714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FB6FA-F5B6-CCFF-F1D1-33C4046E8F49}"/>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698CDC-8264-8360-78B3-C2BBCA190D22}"/>
              </a:ext>
            </a:extLst>
          </p:cNvPr>
          <p:cNvSpPr>
            <a:spLocks noGrp="1"/>
          </p:cNvSpPr>
          <p:nvPr>
            <p:ph type="sldNum" sz="quarter" idx="4"/>
          </p:nvPr>
        </p:nvSpPr>
        <p:spPr/>
        <p:txBody>
          <a:bodyPr/>
          <a:lstStyle/>
          <a:p>
            <a:fld id="{DF7F771E-9578-4C04-B869-01AF4C35C90C}" type="slidenum">
              <a:rPr lang="de-DE" smtClean="0"/>
              <a:t>80</a:t>
            </a:fld>
            <a:endParaRPr lang="de-DE"/>
          </a:p>
        </p:txBody>
      </p:sp>
      <p:sp>
        <p:nvSpPr>
          <p:cNvPr id="6" name="Untertitel 3">
            <a:extLst>
              <a:ext uri="{FF2B5EF4-FFF2-40B4-BE49-F238E27FC236}">
                <a16:creationId xmlns:a16="http://schemas.microsoft.com/office/drawing/2014/main" id="{64E28BD5-696F-812F-6CA7-798523CB1281}"/>
              </a:ext>
            </a:extLst>
          </p:cNvPr>
          <p:cNvSpPr txBox="1">
            <a:spLocks/>
          </p:cNvSpPr>
          <p:nvPr/>
        </p:nvSpPr>
        <p:spPr>
          <a:xfrm>
            <a:off x="719139" y="1277938"/>
            <a:ext cx="6064568" cy="824229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Playing the Game</a:t>
            </a:r>
          </a:p>
          <a:p>
            <a:pPr marL="139700" indent="0"/>
            <a:r>
              <a:rPr lang="en-US" sz="1200" b="1"/>
              <a:t>Materials Needed:</a:t>
            </a:r>
            <a:endParaRPr lang="en-US" sz="1200"/>
          </a:p>
          <a:p>
            <a:pPr marL="628650" lvl="1" indent="-171450" algn="l">
              <a:buFont typeface="Arial" panose="020B0604020202020204" pitchFamily="34" charset="0"/>
              <a:buChar char="•"/>
            </a:pPr>
            <a:r>
              <a:rPr lang="en-US" sz="1200"/>
              <a:t>One six-sided dice per energy zone (You can also use just one dice and throw it independently for each energy zone, or you can use a virtual dice (</a:t>
            </a:r>
            <a:r>
              <a:rPr lang="en-US" sz="1200">
                <a:hlinkClick r:id="rId2"/>
              </a:rPr>
              <a:t>https://dice.virtuworld.net/</a:t>
            </a:r>
            <a:r>
              <a:rPr lang="en-US" sz="1200"/>
              <a:t> ).</a:t>
            </a:r>
          </a:p>
          <a:p>
            <a:pPr marL="628650" lvl="1" indent="-171450" algn="l">
              <a:buFont typeface="Arial" panose="020B0604020202020204" pitchFamily="34" charset="0"/>
              <a:buChar char="•"/>
            </a:pPr>
            <a:r>
              <a:rPr lang="en-US" sz="1200"/>
              <a:t>Student notebooks (to track energy generation, usage, and demand).</a:t>
            </a:r>
          </a:p>
          <a:p>
            <a:pPr marL="628650" lvl="1" indent="-171450" algn="l">
              <a:buFont typeface="Arial" panose="020B0604020202020204" pitchFamily="34" charset="0"/>
              <a:buChar char="•"/>
            </a:pPr>
            <a:r>
              <a:rPr lang="en-US" sz="1200"/>
              <a:t>Battery tracker (drawn in notebooks, max capacity: 10 energy units).</a:t>
            </a:r>
          </a:p>
          <a:p>
            <a:pPr marL="628650" lvl="1" indent="-171450" algn="l">
              <a:buFont typeface="Arial" panose="020B0604020202020204" pitchFamily="34" charset="0"/>
              <a:buChar char="•"/>
            </a:pPr>
            <a:r>
              <a:rPr lang="en-US" sz="1200"/>
              <a:t>Demand tracker sheet (provided in the workbook).</a:t>
            </a:r>
          </a:p>
          <a:p>
            <a:pPr marL="628650" lvl="1" indent="-171450" algn="l">
              <a:buFont typeface="Arial" panose="020B0604020202020204" pitchFamily="34" charset="0"/>
              <a:buChar char="•"/>
            </a:pPr>
            <a:endParaRPr lang="en-US" sz="1200"/>
          </a:p>
          <a:p>
            <a:r>
              <a:rPr lang="en-US" sz="1200" b="1"/>
              <a:t>Gameplay Rules</a:t>
            </a:r>
          </a:p>
          <a:p>
            <a:pPr marL="139700" indent="0"/>
            <a:r>
              <a:rPr lang="en-US" sz="1200" b="1"/>
              <a:t>Set Up the Notebook:</a:t>
            </a:r>
            <a:endParaRPr lang="en-US" sz="1200"/>
          </a:p>
          <a:p>
            <a:pPr marL="742950" lvl="1" indent="-285750" algn="l">
              <a:buFont typeface="Arial" panose="020B0604020202020204" pitchFamily="34" charset="0"/>
              <a:buChar char="•"/>
            </a:pPr>
            <a:r>
              <a:rPr lang="en-US" sz="1200"/>
              <a:t>Create a simple table in your notebooks to track:</a:t>
            </a:r>
          </a:p>
          <a:p>
            <a:pPr marL="1143000" lvl="2" indent="-228600" algn="l">
              <a:buFont typeface="Arial" panose="020B0604020202020204" pitchFamily="34" charset="0"/>
              <a:buChar char="•"/>
            </a:pPr>
            <a:r>
              <a:rPr lang="en-US" sz="1200"/>
              <a:t>Energy is generated by each source (solar, wind, hydro).</a:t>
            </a:r>
          </a:p>
          <a:p>
            <a:pPr marL="1143000" lvl="2" indent="-228600" algn="l">
              <a:buFont typeface="Arial" panose="020B0604020202020204" pitchFamily="34" charset="0"/>
              <a:buChar char="•"/>
            </a:pPr>
            <a:r>
              <a:rPr lang="en-US" sz="1200"/>
              <a:t>Energy stored or retrieved from the battery.</a:t>
            </a:r>
          </a:p>
          <a:p>
            <a:pPr marL="1143000" lvl="2" indent="-228600" algn="l">
              <a:buFont typeface="Arial" panose="020B0604020202020204" pitchFamily="34" charset="0"/>
              <a:buChar char="•"/>
            </a:pPr>
            <a:r>
              <a:rPr lang="en-US" sz="1200"/>
              <a:t>Energy sent to the central grid.</a:t>
            </a:r>
          </a:p>
          <a:p>
            <a:pPr marL="1143000" lvl="2" indent="-228600" algn="l">
              <a:buFont typeface="Arial" panose="020B0604020202020204" pitchFamily="34" charset="0"/>
              <a:buChar char="•"/>
            </a:pPr>
            <a:r>
              <a:rPr lang="en-US" sz="1200"/>
              <a:t>Total energy available vs. demand for each round.</a:t>
            </a:r>
          </a:p>
          <a:p>
            <a:pPr marL="742950" lvl="1" indent="-285750" algn="l">
              <a:buFont typeface="Arial" panose="020B0604020202020204" pitchFamily="34" charset="0"/>
              <a:buChar char="•"/>
            </a:pPr>
            <a:r>
              <a:rPr lang="en-US" sz="1200"/>
              <a:t>Draw a battery tracker with a max capacity of 10 units to record energy storage and dissipation.</a:t>
            </a:r>
          </a:p>
          <a:p>
            <a:pPr marL="742950" lvl="1" indent="-285750" algn="l">
              <a:buFont typeface="Arial" panose="020B0604020202020204" pitchFamily="34" charset="0"/>
              <a:buChar char="•"/>
            </a:pPr>
            <a:endParaRPr lang="en-US" sz="1200"/>
          </a:p>
          <a:p>
            <a:pPr marL="457200" lvl="1" indent="0" algn="l"/>
            <a:r>
              <a:rPr lang="en-US" sz="1200" b="1"/>
              <a:t>Roll the Dice for Energy Generation: </a:t>
            </a:r>
            <a:r>
              <a:rPr lang="en-US" sz="1200"/>
              <a:t>Each energy zone rolls one six-sided die to determine its energy output:</a:t>
            </a:r>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endParaRPr lang="en-US" sz="1200"/>
          </a:p>
          <a:p>
            <a:pPr marL="457200" lvl="1" indent="0" algn="l"/>
            <a:r>
              <a:rPr lang="en-US" sz="1200" b="1"/>
              <a:t>Record the results of the dice rolls in your notebook under "Energy Generated."</a:t>
            </a:r>
          </a:p>
          <a:p>
            <a:pPr marL="742950" lvl="1" indent="-285750" algn="l">
              <a:buFont typeface="Arial" panose="020B0604020202020204" pitchFamily="34" charset="0"/>
              <a:buChar char="•"/>
            </a:pPr>
            <a:endParaRPr lang="en-US" sz="1200"/>
          </a:p>
          <a:p>
            <a:pPr marL="628650" lvl="1" indent="-171450" algn="l">
              <a:buFont typeface="Arial" panose="020B0604020202020204" pitchFamily="34" charset="0"/>
              <a:buChar char="•"/>
            </a:pPr>
            <a:endParaRPr lang="en-US" sz="1200"/>
          </a:p>
        </p:txBody>
      </p:sp>
      <p:pic>
        <p:nvPicPr>
          <p:cNvPr id="18" name="Grafik 17" descr="Skizze mit einfarbiger Füllung">
            <a:extLst>
              <a:ext uri="{FF2B5EF4-FFF2-40B4-BE49-F238E27FC236}">
                <a16:creationId xmlns:a16="http://schemas.microsoft.com/office/drawing/2014/main" id="{60A3C5AB-A5F2-DEF4-43BD-2392E4252D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4704" y="2453254"/>
            <a:ext cx="379044" cy="379044"/>
          </a:xfrm>
          <a:prstGeom prst="rect">
            <a:avLst/>
          </a:prstGeom>
        </p:spPr>
      </p:pic>
      <p:graphicFrame>
        <p:nvGraphicFramePr>
          <p:cNvPr id="2" name="Table 1">
            <a:extLst>
              <a:ext uri="{FF2B5EF4-FFF2-40B4-BE49-F238E27FC236}">
                <a16:creationId xmlns:a16="http://schemas.microsoft.com/office/drawing/2014/main" id="{1CE199B9-8F39-2068-4F18-29310808B2C9}"/>
              </a:ext>
            </a:extLst>
          </p:cNvPr>
          <p:cNvGraphicFramePr>
            <a:graphicFrameLocks noGrp="1"/>
          </p:cNvGraphicFramePr>
          <p:nvPr>
            <p:extLst>
              <p:ext uri="{D42A27DB-BD31-4B8C-83A1-F6EECF244321}">
                <p14:modId xmlns:p14="http://schemas.microsoft.com/office/powerpoint/2010/main" val="2780327106"/>
              </p:ext>
            </p:extLst>
          </p:nvPr>
        </p:nvGraphicFramePr>
        <p:xfrm>
          <a:off x="1243789" y="6059555"/>
          <a:ext cx="5213214" cy="2725315"/>
        </p:xfrm>
        <a:graphic>
          <a:graphicData uri="http://schemas.openxmlformats.org/drawingml/2006/table">
            <a:tbl>
              <a:tblPr>
                <a:noFill/>
                <a:tableStyleId>{F0CFADBD-3245-443C-9B6D-9ACBA4CA32A5}</a:tableStyleId>
              </a:tblPr>
              <a:tblGrid>
                <a:gridCol w="761947">
                  <a:extLst>
                    <a:ext uri="{9D8B030D-6E8A-4147-A177-3AD203B41FA5}">
                      <a16:colId xmlns:a16="http://schemas.microsoft.com/office/drawing/2014/main" val="70501531"/>
                    </a:ext>
                  </a:extLst>
                </a:gridCol>
                <a:gridCol w="878978">
                  <a:extLst>
                    <a:ext uri="{9D8B030D-6E8A-4147-A177-3AD203B41FA5}">
                      <a16:colId xmlns:a16="http://schemas.microsoft.com/office/drawing/2014/main" val="2554105464"/>
                    </a:ext>
                  </a:extLst>
                </a:gridCol>
                <a:gridCol w="805299">
                  <a:extLst>
                    <a:ext uri="{9D8B030D-6E8A-4147-A177-3AD203B41FA5}">
                      <a16:colId xmlns:a16="http://schemas.microsoft.com/office/drawing/2014/main" val="418426545"/>
                    </a:ext>
                  </a:extLst>
                </a:gridCol>
                <a:gridCol w="922330">
                  <a:extLst>
                    <a:ext uri="{9D8B030D-6E8A-4147-A177-3AD203B41FA5}">
                      <a16:colId xmlns:a16="http://schemas.microsoft.com/office/drawing/2014/main" val="857046443"/>
                    </a:ext>
                  </a:extLst>
                </a:gridCol>
                <a:gridCol w="922330">
                  <a:extLst>
                    <a:ext uri="{9D8B030D-6E8A-4147-A177-3AD203B41FA5}">
                      <a16:colId xmlns:a16="http://schemas.microsoft.com/office/drawing/2014/main" val="4111847713"/>
                    </a:ext>
                  </a:extLst>
                </a:gridCol>
                <a:gridCol w="922330">
                  <a:extLst>
                    <a:ext uri="{9D8B030D-6E8A-4147-A177-3AD203B41FA5}">
                      <a16:colId xmlns:a16="http://schemas.microsoft.com/office/drawing/2014/main" val="3122610575"/>
                    </a:ext>
                  </a:extLst>
                </a:gridCol>
              </a:tblGrid>
              <a:tr h="363822">
                <a:tc gridSpan="2">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Solar:</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hMerge="1">
                  <a:txBody>
                    <a:bodyPr/>
                    <a:lstStyle/>
                    <a:p>
                      <a:pPr marL="0" lvl="0" indent="0" algn="ctr" rtl="0">
                        <a:lnSpc>
                          <a:spcPct val="115000"/>
                        </a:lnSpc>
                        <a:spcBef>
                          <a:spcPts val="0"/>
                        </a:spcBef>
                        <a:spcAft>
                          <a:spcPts val="0"/>
                        </a:spcAft>
                        <a:buNone/>
                      </a:pPr>
                      <a:endParaRPr lang="en-US" sz="1000" b="1" noProof="0">
                        <a:solidFill>
                          <a:schemeClr val="dk1"/>
                        </a:solidFill>
                        <a:latin typeface="Epilogue"/>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gridSpan="2">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Wind :</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hMerge="1">
                  <a:txBody>
                    <a:bodyPr/>
                    <a:lstStyle/>
                    <a:p>
                      <a:pPr marL="0" lvl="0" indent="0" algn="ctr" rtl="0">
                        <a:lnSpc>
                          <a:spcPct val="115000"/>
                        </a:lnSpc>
                        <a:spcBef>
                          <a:spcPts val="0"/>
                        </a:spcBef>
                        <a:spcAft>
                          <a:spcPts val="0"/>
                        </a:spcAft>
                        <a:buNone/>
                      </a:pPr>
                      <a:endParaRPr lang="en-US" sz="1000" b="1" noProof="0">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gridSpan="2">
                  <a:txBody>
                    <a:bodyPr/>
                    <a:lstStyle/>
                    <a:p>
                      <a:pPr marL="0" lvl="0" indent="0" algn="ctr" rtl="0">
                        <a:lnSpc>
                          <a:spcPct val="115000"/>
                        </a:lnSpc>
                        <a:spcBef>
                          <a:spcPts val="0"/>
                        </a:spcBef>
                        <a:spcAft>
                          <a:spcPts val="0"/>
                        </a:spcAft>
                        <a:buNone/>
                      </a:pPr>
                      <a:r>
                        <a:rPr lang="en-US" sz="1000" b="1" noProof="0">
                          <a:solidFill>
                            <a:schemeClr val="dk1"/>
                          </a:solidFill>
                          <a:latin typeface="Epilogue"/>
                          <a:ea typeface="Epilogue"/>
                          <a:cs typeface="Epilogue"/>
                          <a:sym typeface="Epilogue"/>
                        </a:rPr>
                        <a:t>Hydro :</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hMerge="1">
                  <a:txBody>
                    <a:bodyPr/>
                    <a:lstStyle/>
                    <a:p>
                      <a:pPr marL="0" lvl="0" indent="0" algn="ctr" rtl="0">
                        <a:lnSpc>
                          <a:spcPct val="115000"/>
                        </a:lnSpc>
                        <a:spcBef>
                          <a:spcPts val="0"/>
                        </a:spcBef>
                        <a:spcAft>
                          <a:spcPts val="0"/>
                        </a:spcAft>
                        <a:buNone/>
                      </a:pPr>
                      <a:endParaRPr lang="en-US" sz="1000" b="1" noProof="0">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499768920"/>
                  </a:ext>
                </a:extLst>
              </a:tr>
              <a:tr h="345813">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Dice Result</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Energy Generation</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Dice Resul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Energy Generation</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Dice Result</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Energy Generation</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924615452"/>
                  </a:ext>
                </a:extLst>
              </a:tr>
              <a:tr h="387125">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2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1</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5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4104599784"/>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2</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3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2</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2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2</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6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801952061"/>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3</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4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3</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4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3</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7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044358324"/>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4</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5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4</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6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4</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8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171121755"/>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5</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6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5</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7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5</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9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477650767"/>
                  </a:ext>
                </a:extLst>
              </a:tr>
              <a:tr h="325711">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6</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8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6</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9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en-US" sz="1000" b="1" noProof="0">
                          <a:solidFill>
                            <a:schemeClr val="dk1"/>
                          </a:solidFill>
                          <a:latin typeface="Sofia Sans"/>
                          <a:ea typeface="Sofia Sans"/>
                          <a:cs typeface="Sofia Sans"/>
                          <a:sym typeface="Sofia Sans"/>
                        </a:rPr>
                        <a:t>6</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US" sz="1000" b="1" noProof="0">
                          <a:solidFill>
                            <a:schemeClr val="dk1"/>
                          </a:solidFill>
                          <a:latin typeface="Sofia Sans"/>
                          <a:ea typeface="Sofia Sans"/>
                          <a:cs typeface="Sofia Sans"/>
                          <a:sym typeface="Sofia Sans"/>
                        </a:rPr>
                        <a:t>10 energy units</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806015657"/>
                  </a:ext>
                </a:extLst>
              </a:tr>
            </a:tbl>
          </a:graphicData>
        </a:graphic>
      </p:graphicFrame>
    </p:spTree>
    <p:extLst>
      <p:ext uri="{BB962C8B-B14F-4D97-AF65-F5344CB8AC3E}">
        <p14:creationId xmlns:p14="http://schemas.microsoft.com/office/powerpoint/2010/main" val="35824328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DDD73-1595-80A3-B711-95DA69D08DDD}"/>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71B40F5-3B9E-0E0B-557A-D23A27C51C65}"/>
              </a:ext>
            </a:extLst>
          </p:cNvPr>
          <p:cNvSpPr>
            <a:spLocks noGrp="1"/>
          </p:cNvSpPr>
          <p:nvPr>
            <p:ph type="sldNum" sz="quarter" idx="4"/>
          </p:nvPr>
        </p:nvSpPr>
        <p:spPr/>
        <p:txBody>
          <a:bodyPr/>
          <a:lstStyle/>
          <a:p>
            <a:fld id="{DF7F771E-9578-4C04-B869-01AF4C35C90C}" type="slidenum">
              <a:rPr lang="de-DE" smtClean="0"/>
              <a:t>81</a:t>
            </a:fld>
            <a:endParaRPr lang="de-DE"/>
          </a:p>
        </p:txBody>
      </p:sp>
      <p:sp>
        <p:nvSpPr>
          <p:cNvPr id="6" name="Untertitel 3">
            <a:extLst>
              <a:ext uri="{FF2B5EF4-FFF2-40B4-BE49-F238E27FC236}">
                <a16:creationId xmlns:a16="http://schemas.microsoft.com/office/drawing/2014/main" id="{606149DF-A5D7-68D1-9831-24EFBFB76051}"/>
              </a:ext>
            </a:extLst>
          </p:cNvPr>
          <p:cNvSpPr txBox="1">
            <a:spLocks/>
          </p:cNvSpPr>
          <p:nvPr/>
        </p:nvSpPr>
        <p:spPr>
          <a:xfrm>
            <a:off x="719138" y="1282700"/>
            <a:ext cx="6007737" cy="83402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200" b="1"/>
              <a:t>Decide on Connections:</a:t>
            </a:r>
          </a:p>
          <a:p>
            <a:pPr marL="139700" indent="0">
              <a:buClr>
                <a:schemeClr val="dk1"/>
              </a:buClr>
            </a:pPr>
            <a:r>
              <a:rPr lang="en-US" sz="1200"/>
              <a:t>Decide which energy zones will connect to the central grid or battery</a:t>
            </a:r>
          </a:p>
          <a:p>
            <a:pPr marL="311150" indent="-171450">
              <a:buClr>
                <a:srgbClr val="4E749C"/>
              </a:buClr>
              <a:buFont typeface="Arial" panose="020B0604020202020204" pitchFamily="34" charset="0"/>
              <a:buChar char="•"/>
            </a:pPr>
            <a:r>
              <a:rPr lang="en-US" sz="1200"/>
              <a:t>For every connection used, subtract 1 energy unit per round in your notebook under "Connection Cost."</a:t>
            </a:r>
          </a:p>
          <a:p>
            <a:pPr marL="457200" lvl="1" indent="0" algn="l"/>
            <a:endParaRPr lang="en-US" sz="1200"/>
          </a:p>
          <a:p>
            <a:pPr marL="139700" indent="0"/>
            <a:r>
              <a:rPr lang="en-US" sz="1200" b="1"/>
              <a:t>Store and Retrieve Energy:</a:t>
            </a:r>
          </a:p>
          <a:p>
            <a:pPr marL="139700" indent="0"/>
            <a:r>
              <a:rPr lang="en-US" sz="1200"/>
              <a:t>Excess energy can be stored in the battery (max capacity: 10 units).</a:t>
            </a:r>
          </a:p>
          <a:p>
            <a:pPr>
              <a:buClr>
                <a:srgbClr val="4E749C"/>
              </a:buClr>
              <a:buFont typeface="Arial" panose="020B0604020202020204" pitchFamily="34" charset="0"/>
              <a:buChar char="•"/>
            </a:pPr>
            <a:r>
              <a:rPr lang="en-US" sz="1200"/>
              <a:t>If demand exceeds generation, stored energy can be retrieved from the battery.</a:t>
            </a:r>
          </a:p>
          <a:p>
            <a:pPr>
              <a:buClr>
                <a:srgbClr val="4E749C"/>
              </a:buClr>
              <a:buFont typeface="Arial" panose="020B0604020202020204" pitchFamily="34" charset="0"/>
              <a:buChar char="•"/>
            </a:pPr>
            <a:r>
              <a:rPr lang="en-US" sz="1200"/>
              <a:t>Each turn, </a:t>
            </a:r>
            <a:r>
              <a:rPr lang="en-US" sz="1200" b="1"/>
              <a:t>subtract 1 unit from the battery tracker</a:t>
            </a:r>
            <a:r>
              <a:rPr lang="en-US" sz="1200"/>
              <a:t> for energy dissipation.</a:t>
            </a:r>
          </a:p>
          <a:p>
            <a:pPr marL="457200" lvl="1" indent="0" algn="l"/>
            <a:endParaRPr lang="en-US" sz="1200"/>
          </a:p>
          <a:p>
            <a:pPr marL="139700" indent="0"/>
            <a:r>
              <a:rPr lang="en-US" sz="1200" b="1"/>
              <a:t>Meet the Demand: </a:t>
            </a:r>
            <a:r>
              <a:rPr lang="en-US" sz="1200"/>
              <a:t>Calculate the energy sent to the grid from connected zones and the battery (if used).</a:t>
            </a:r>
          </a:p>
          <a:p>
            <a:pPr marL="139700" indent="0"/>
            <a:r>
              <a:rPr lang="en-US" sz="1200"/>
              <a:t>Compare the total energy sent to the demand level:</a:t>
            </a:r>
          </a:p>
          <a:p>
            <a:pPr marL="900000" indent="-171450">
              <a:buClr>
                <a:srgbClr val="4E749C"/>
              </a:buClr>
              <a:buFont typeface="Arial" panose="020B0604020202020204" pitchFamily="34" charset="0"/>
              <a:buChar char="•"/>
            </a:pPr>
            <a:r>
              <a:rPr lang="en-US" sz="1200" b="1"/>
              <a:t>Round 1 Demand:</a:t>
            </a:r>
            <a:r>
              <a:rPr lang="en-US" sz="1200"/>
              <a:t> 10 units.</a:t>
            </a:r>
          </a:p>
          <a:p>
            <a:pPr marL="900000" indent="-171450">
              <a:buClr>
                <a:srgbClr val="4E749C"/>
              </a:buClr>
              <a:buFont typeface="Arial" panose="020B0604020202020204" pitchFamily="34" charset="0"/>
              <a:buChar char="•"/>
            </a:pPr>
            <a:r>
              <a:rPr lang="en-US" sz="1200" b="1"/>
              <a:t>Round 2 Demand:</a:t>
            </a:r>
            <a:r>
              <a:rPr lang="en-US" sz="1200"/>
              <a:t> 15 units.</a:t>
            </a:r>
          </a:p>
          <a:p>
            <a:pPr marL="900000" indent="-171450">
              <a:buClr>
                <a:srgbClr val="4E749C"/>
              </a:buClr>
              <a:buFont typeface="Arial" panose="020B0604020202020204" pitchFamily="34" charset="0"/>
              <a:buChar char="•"/>
            </a:pPr>
            <a:r>
              <a:rPr lang="en-US" sz="1200" b="1"/>
              <a:t>Round 3 Demand:</a:t>
            </a:r>
            <a:r>
              <a:rPr lang="en-US" sz="1200"/>
              <a:t> 20 units.</a:t>
            </a:r>
          </a:p>
          <a:p>
            <a:pPr marL="139700" indent="0"/>
            <a:r>
              <a:rPr lang="en-US" sz="1200"/>
              <a:t>Record the outcomes in the notebook:</a:t>
            </a:r>
          </a:p>
          <a:p>
            <a:pPr marL="742950" lvl="1" indent="-285750" algn="l">
              <a:buClr>
                <a:srgbClr val="4E749C"/>
              </a:buClr>
              <a:buFont typeface="Arial" panose="020B0604020202020204" pitchFamily="34" charset="0"/>
              <a:buChar char="•"/>
            </a:pPr>
            <a:r>
              <a:rPr lang="en-US" sz="1200" b="1"/>
              <a:t>Shortfall:</a:t>
            </a:r>
            <a:r>
              <a:rPr lang="en-US" sz="1200"/>
              <a:t> Available energy is less than demand.</a:t>
            </a:r>
          </a:p>
          <a:p>
            <a:pPr marL="742950" lvl="1" indent="-285750" algn="l">
              <a:buClr>
                <a:srgbClr val="4E749C"/>
              </a:buClr>
              <a:buFont typeface="Arial" panose="020B0604020202020204" pitchFamily="34" charset="0"/>
              <a:buChar char="•"/>
            </a:pPr>
            <a:r>
              <a:rPr lang="en-US" sz="1200" b="1"/>
              <a:t>Excess:</a:t>
            </a:r>
            <a:r>
              <a:rPr lang="en-US" sz="1200"/>
              <a:t> Available energy exceeds demand (recorded as wasted energy).</a:t>
            </a:r>
          </a:p>
          <a:p>
            <a:pPr marL="742950" lvl="1" indent="-285750" algn="l">
              <a:buFont typeface="Arial" panose="020B0604020202020204" pitchFamily="34" charset="0"/>
              <a:buChar char="•"/>
            </a:pPr>
            <a:endParaRPr lang="en-US" sz="1200"/>
          </a:p>
          <a:p>
            <a:pPr marL="742950" lvl="1" indent="-285750" algn="l">
              <a:buFont typeface="Arial" panose="020B0604020202020204" pitchFamily="34" charset="0"/>
              <a:buChar char="•"/>
            </a:pPr>
            <a:endParaRPr lang="en-US" sz="1200"/>
          </a:p>
          <a:p>
            <a:r>
              <a:rPr lang="en-US" sz="1200" b="1"/>
              <a:t>Scoring:</a:t>
            </a:r>
          </a:p>
          <a:p>
            <a:pPr marL="139700" indent="0"/>
            <a:r>
              <a:rPr lang="en-US" sz="1200" b="1"/>
              <a:t>Reliability:</a:t>
            </a:r>
            <a:r>
              <a:rPr lang="en-US" sz="1200"/>
              <a:t> 2 points for each round where demand is fully met.</a:t>
            </a:r>
          </a:p>
          <a:p>
            <a:pPr marL="139700" indent="0"/>
            <a:r>
              <a:rPr lang="en-US" sz="1200" b="1"/>
              <a:t>Efficiency:</a:t>
            </a:r>
            <a:r>
              <a:rPr lang="en-US" sz="1200"/>
              <a:t> 1 point for minimizing wasted energy (1 point for each round with zero excess energy).</a:t>
            </a:r>
          </a:p>
          <a:p>
            <a:pPr marL="139700" indent="0"/>
            <a:r>
              <a:rPr lang="en-US" sz="1200" b="1"/>
              <a:t>Strategy:</a:t>
            </a:r>
            <a:r>
              <a:rPr lang="en-US" sz="1200"/>
              <a:t> 1 bonus point for practical battery usage (e.g., no overflows or under-utilization).</a:t>
            </a:r>
          </a:p>
          <a:p>
            <a:pPr marL="139700" indent="0"/>
            <a:endParaRPr lang="en-US" sz="1200"/>
          </a:p>
          <a:p>
            <a:pPr marL="139700" indent="0"/>
            <a:r>
              <a:rPr lang="en-US" sz="1200" b="1"/>
              <a:t>Discussion</a:t>
            </a:r>
            <a:r>
              <a:rPr lang="en-US" sz="1200"/>
              <a:t>:</a:t>
            </a:r>
          </a:p>
          <a:p>
            <a:pPr marL="139700" indent="0"/>
            <a:r>
              <a:rPr lang="en-US" sz="1200"/>
              <a:t>Once the game is finished, answer the following questions:</a:t>
            </a:r>
          </a:p>
          <a:p>
            <a:pPr marL="139700" indent="0"/>
            <a:endParaRPr lang="en-US" sz="1200"/>
          </a:p>
          <a:p>
            <a:pPr marL="311150" indent="-171450">
              <a:buClr>
                <a:srgbClr val="4E749C"/>
              </a:buClr>
              <a:buFont typeface="Arial" panose="020B0604020202020204" pitchFamily="34" charset="0"/>
              <a:buChar char="•"/>
            </a:pPr>
            <a:r>
              <a:rPr lang="en-US" sz="1200"/>
              <a:t>How did variability in energy generation (dice rolls) impact your ability to meet demand?</a:t>
            </a:r>
          </a:p>
          <a:p>
            <a:pPr marL="311150" indent="-171450">
              <a:buClr>
                <a:srgbClr val="4E749C"/>
              </a:buClr>
              <a:buFont typeface="Arial" panose="020B0604020202020204" pitchFamily="34" charset="0"/>
              <a:buChar char="•"/>
            </a:pPr>
            <a:r>
              <a:rPr lang="en-US" sz="1200"/>
              <a:t>How did your choice to use (or not) the battery affect your grid's reliability?</a:t>
            </a:r>
          </a:p>
          <a:p>
            <a:pPr marL="311150" indent="-171450">
              <a:buClr>
                <a:srgbClr val="4E749C"/>
              </a:buClr>
              <a:buFont typeface="Arial" panose="020B0604020202020204" pitchFamily="34" charset="0"/>
              <a:buChar char="•"/>
            </a:pPr>
            <a:r>
              <a:rPr lang="en-US" sz="1200"/>
              <a:t>If you redesigned the grid, how would you improve reliability and efficiency?</a:t>
            </a:r>
          </a:p>
          <a:p>
            <a:pPr marL="311150" indent="-171450">
              <a:buClr>
                <a:srgbClr val="4E749C"/>
              </a:buClr>
              <a:buFont typeface="Arial" panose="020B0604020202020204" pitchFamily="34" charset="0"/>
              <a:buChar char="•"/>
            </a:pPr>
            <a:r>
              <a:rPr lang="en-US" sz="1200"/>
              <a:t>What lessons can you apply from this activity to real-world energy systems? </a:t>
            </a:r>
          </a:p>
          <a:p>
            <a:pPr marL="139700" indent="0"/>
            <a:endParaRPr lang="en-US" sz="1200"/>
          </a:p>
          <a:p>
            <a:pPr marL="742950" lvl="1" indent="-285750" algn="l">
              <a:buFont typeface="Arial" panose="020B0604020202020204" pitchFamily="34" charset="0"/>
              <a:buChar char="•"/>
            </a:pPr>
            <a:endParaRPr lang="en-US" sz="1200"/>
          </a:p>
          <a:p>
            <a:pPr marL="628650" lvl="1" indent="-171450" algn="l">
              <a:buFont typeface="Arial" panose="020B0604020202020204" pitchFamily="34" charset="0"/>
              <a:buChar char="•"/>
            </a:pPr>
            <a:endParaRPr lang="en-US" sz="1200"/>
          </a:p>
        </p:txBody>
      </p:sp>
      <p:pic>
        <p:nvPicPr>
          <p:cNvPr id="18" name="Grafik 17" descr="Skizze mit einfarbiger Füllung">
            <a:extLst>
              <a:ext uri="{FF2B5EF4-FFF2-40B4-BE49-F238E27FC236}">
                <a16:creationId xmlns:a16="http://schemas.microsoft.com/office/drawing/2014/main" id="{E4F96379-8B63-640F-807F-3B0640F5D8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04" y="2453254"/>
            <a:ext cx="379044" cy="379044"/>
          </a:xfrm>
          <a:prstGeom prst="rect">
            <a:avLst/>
          </a:prstGeom>
        </p:spPr>
      </p:pic>
    </p:spTree>
    <p:extLst>
      <p:ext uri="{BB962C8B-B14F-4D97-AF65-F5344CB8AC3E}">
        <p14:creationId xmlns:p14="http://schemas.microsoft.com/office/powerpoint/2010/main" val="18458295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3F175-62A5-E242-CE40-C7FBD35A10F8}"/>
            </a:ext>
          </a:extLst>
        </p:cNvPr>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4F32F5B5-B8C6-C52E-5491-1FFCF5CCB52E}"/>
              </a:ext>
            </a:extLst>
          </p:cNvPr>
          <p:cNvSpPr>
            <a:spLocks noGrp="1"/>
          </p:cNvSpPr>
          <p:nvPr>
            <p:ph type="sldNum" sz="quarter" idx="16"/>
          </p:nvPr>
        </p:nvSpPr>
        <p:spPr/>
        <p:txBody>
          <a:bodyPr/>
          <a:lstStyle/>
          <a:p>
            <a:fld id="{DF7F771E-9578-4C04-B869-01AF4C35C90C}" type="slidenum">
              <a:rPr lang="de-DE" smtClean="0"/>
              <a:t>82</a:t>
            </a:fld>
            <a:endParaRPr lang="de-DE"/>
          </a:p>
        </p:txBody>
      </p:sp>
      <p:sp>
        <p:nvSpPr>
          <p:cNvPr id="2" name="Rechteck 1">
            <a:extLst>
              <a:ext uri="{FF2B5EF4-FFF2-40B4-BE49-F238E27FC236}">
                <a16:creationId xmlns:a16="http://schemas.microsoft.com/office/drawing/2014/main" id="{577C43DA-4E74-1633-A681-1257F682C5EF}"/>
              </a:ext>
            </a:extLst>
          </p:cNvPr>
          <p:cNvSpPr/>
          <p:nvPr/>
        </p:nvSpPr>
        <p:spPr>
          <a:xfrm>
            <a:off x="719138" y="1596645"/>
            <a:ext cx="5740172" cy="6868085"/>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89F3A792-199C-B9B8-8261-4658F1E1BDF3}"/>
              </a:ext>
            </a:extLst>
          </p:cNvPr>
          <p:cNvSpPr>
            <a:spLocks noChangeAspect="1"/>
          </p:cNvSpPr>
          <p:nvPr/>
        </p:nvSpPr>
        <p:spPr>
          <a:xfrm>
            <a:off x="6128978" y="1277938"/>
            <a:ext cx="660145" cy="660145"/>
          </a:xfrm>
          <a:prstGeom prst="ellipse">
            <a:avLst/>
          </a:prstGeom>
          <a:solidFill>
            <a:schemeClr val="accent5"/>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Lesezeichen mit einfarbiger Füllung">
            <a:extLst>
              <a:ext uri="{FF2B5EF4-FFF2-40B4-BE49-F238E27FC236}">
                <a16:creationId xmlns:a16="http://schemas.microsoft.com/office/drawing/2014/main" id="{5D4DBC9A-FEFB-422B-E922-6F30A9CB1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5" name="Untertitel 5">
            <a:extLst>
              <a:ext uri="{FF2B5EF4-FFF2-40B4-BE49-F238E27FC236}">
                <a16:creationId xmlns:a16="http://schemas.microsoft.com/office/drawing/2014/main" id="{AA2170D2-E9E9-1838-08F1-6CFB07225F21}"/>
              </a:ext>
            </a:extLst>
          </p:cNvPr>
          <p:cNvSpPr txBox="1">
            <a:spLocks/>
          </p:cNvSpPr>
          <p:nvPr/>
        </p:nvSpPr>
        <p:spPr>
          <a:xfrm>
            <a:off x="814097" y="172876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Summary</a:t>
            </a:r>
          </a:p>
        </p:txBody>
      </p:sp>
      <p:sp>
        <p:nvSpPr>
          <p:cNvPr id="6" name="Untertitel 2">
            <a:extLst>
              <a:ext uri="{FF2B5EF4-FFF2-40B4-BE49-F238E27FC236}">
                <a16:creationId xmlns:a16="http://schemas.microsoft.com/office/drawing/2014/main" id="{CEA44D3C-3A60-EAB4-54A4-DD95968DE96D}"/>
              </a:ext>
            </a:extLst>
          </p:cNvPr>
          <p:cNvSpPr txBox="1">
            <a:spLocks/>
          </p:cNvSpPr>
          <p:nvPr/>
        </p:nvSpPr>
        <p:spPr>
          <a:xfrm>
            <a:off x="948234" y="2147403"/>
            <a:ext cx="5281980" cy="51015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Why </a:t>
            </a:r>
            <a:r>
              <a:rPr lang="en-US" sz="1200" b="1" kern="100">
                <a:latin typeface="Sofia Sans" panose="020B0604020202020204" charset="0"/>
                <a:ea typeface="Aptos" panose="020B0004020202020204" pitchFamily="34" charset="0"/>
                <a:cs typeface="Times New Roman" panose="02020603050405020304" pitchFamily="18" charset="0"/>
              </a:rPr>
              <a:t>B</a:t>
            </a:r>
            <a:r>
              <a:rPr lang="en-US" sz="1200" b="1" kern="100">
                <a:effectLst/>
                <a:latin typeface="Sofia Sans" panose="020B0604020202020204" charset="0"/>
                <a:ea typeface="Aptos" panose="020B0004020202020204" pitchFamily="34" charset="0"/>
                <a:cs typeface="Times New Roman" panose="02020603050405020304" pitchFamily="18" charset="0"/>
              </a:rPr>
              <a:t>alancing Sources matter:</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Generation Fluctuations: </a:t>
            </a:r>
            <a:r>
              <a:rPr lang="en-US" sz="1200" kern="100">
                <a:effectLst/>
                <a:latin typeface="Sofia Sans" panose="020B0604020202020204" charset="0"/>
                <a:ea typeface="Aptos" panose="020B0004020202020204" pitchFamily="34" charset="0"/>
                <a:cs typeface="Times New Roman" panose="02020603050405020304" pitchFamily="18" charset="0"/>
              </a:rPr>
              <a:t>Renewable energy sources like wind and solar are inherently variable. </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Importance of Storage</a:t>
            </a:r>
            <a:r>
              <a:rPr lang="en-US" sz="1200" kern="100">
                <a:effectLst/>
                <a:latin typeface="Sofia Sans" panose="020B0604020202020204" charset="0"/>
                <a:ea typeface="Aptos" panose="020B0004020202020204" pitchFamily="34" charset="0"/>
                <a:cs typeface="Times New Roman" panose="02020603050405020304" pitchFamily="18" charset="0"/>
              </a:rPr>
              <a:t>: Batteries act as a crucial buffer, storing excess energy when generation exceeds demand and releasing it during shortages, ensuring continuity in energy supply.</a:t>
            </a:r>
            <a:endParaRPr lang="en-US" sz="1200" b="1" kern="100">
              <a:effectLst/>
              <a:latin typeface="Sofia Sans" panose="020B0604020202020204" charset="0"/>
              <a:ea typeface="Aptos" panose="020B0004020202020204" pitchFamily="34" charset="0"/>
              <a:cs typeface="Times New Roman" panose="02020603050405020304" pitchFamily="18" charset="0"/>
            </a:endParaRP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Dynamic Decision-Making:</a:t>
            </a:r>
            <a:r>
              <a:rPr lang="en-US" sz="1200" kern="100">
                <a:effectLst/>
                <a:latin typeface="Sofia Sans" panose="020B0604020202020204" charset="0"/>
                <a:ea typeface="Aptos" panose="020B0004020202020204" pitchFamily="34" charset="0"/>
                <a:cs typeface="Times New Roman" panose="02020603050405020304" pitchFamily="18" charset="0"/>
              </a:rPr>
              <a:t> The choice to connect batteries and other distributed energy resources (DERs) reinforces the importance of adaptability in managing demand peaks and avoiding energy shortages.</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Lessons from the Game</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Resource Interconnectivity</a:t>
            </a:r>
            <a:r>
              <a:rPr lang="en-US" sz="1200" kern="100">
                <a:effectLst/>
                <a:latin typeface="Sofia Sans" panose="020B0604020202020204" charset="0"/>
                <a:ea typeface="Aptos" panose="020B0004020202020204" pitchFamily="34" charset="0"/>
                <a:cs typeface="Times New Roman" panose="02020603050405020304" pitchFamily="18" charset="0"/>
              </a:rPr>
              <a:t>: Pooling energy from various resources reduces the impact of generation variability, ensuring a more reliable energy supply.</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Planning for Variability</a:t>
            </a:r>
            <a:r>
              <a:rPr lang="en-US" sz="1200" kern="100">
                <a:effectLst/>
                <a:latin typeface="Sofia Sans" panose="020B0604020202020204" charset="0"/>
                <a:ea typeface="Aptos" panose="020B0004020202020204" pitchFamily="34" charset="0"/>
                <a:cs typeface="Times New Roman" panose="02020603050405020304" pitchFamily="18" charset="0"/>
              </a:rPr>
              <a:t>: The dice mechanics highlight the unpredictability of renewable energy.</a:t>
            </a:r>
            <a:endParaRPr lang="en-US" sz="1200" kern="100">
              <a:latin typeface="Sofia Sans" panose="020B0604020202020204" charset="0"/>
              <a:ea typeface="Aptos" panose="020B0004020202020204" pitchFamily="34" charset="0"/>
              <a:cs typeface="Times New Roman" panose="02020603050405020304" pitchFamily="18" charset="0"/>
            </a:endParaRP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Balancing Costs</a:t>
            </a:r>
            <a:r>
              <a:rPr lang="en-US" sz="1200" kern="100">
                <a:effectLst/>
                <a:latin typeface="Sofia Sans" panose="020B0604020202020204" charset="0"/>
                <a:ea typeface="Aptos" panose="020B0004020202020204" pitchFamily="34" charset="0"/>
                <a:cs typeface="Times New Roman" panose="02020603050405020304" pitchFamily="18" charset="0"/>
              </a:rPr>
              <a:t>: Allocating resources strategically to maintain grid balance without overusing batteries or over-investing in connections fosters cost-conscious decision-making.</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Mitigating Peaks: </a:t>
            </a:r>
            <a:r>
              <a:rPr lang="en-US" sz="1200" kern="100" err="1">
                <a:effectLst/>
                <a:latin typeface="Sofia Sans" panose="020B0604020202020204" charset="0"/>
                <a:ea typeface="Aptos" panose="020B0004020202020204" pitchFamily="34" charset="0"/>
                <a:cs typeface="Times New Roman" panose="02020603050405020304" pitchFamily="18" charset="0"/>
              </a:rPr>
              <a:t>Ppooling</a:t>
            </a:r>
            <a:r>
              <a:rPr lang="en-US" sz="1200" kern="100">
                <a:effectLst/>
                <a:latin typeface="Sofia Sans" panose="020B0604020202020204" charset="0"/>
                <a:ea typeface="Aptos" panose="020B0004020202020204" pitchFamily="34" charset="0"/>
                <a:cs typeface="Times New Roman" panose="02020603050405020304" pitchFamily="18" charset="0"/>
              </a:rPr>
              <a:t> energy in a grid smooths demand peaks, reducing strain on individual resources and improving overall system efficiency.</a:t>
            </a:r>
          </a:p>
          <a:p>
            <a:pPr marL="0">
              <a:lnSpc>
                <a:spcPct val="100000"/>
              </a:lnSpc>
              <a:spcAft>
                <a:spcPts val="800"/>
              </a:spcAft>
            </a:pPr>
            <a:r>
              <a:rPr lang="en-US" sz="1200" b="1" kern="100">
                <a:effectLst/>
                <a:latin typeface="Sofia Sans" panose="020B0604020202020204" charset="0"/>
                <a:ea typeface="Aptos" panose="020B0004020202020204" pitchFamily="34" charset="0"/>
                <a:cs typeface="Times New Roman" panose="02020603050405020304" pitchFamily="18" charset="0"/>
              </a:rPr>
              <a:t>Key Takeaways:</a:t>
            </a:r>
          </a:p>
          <a:p>
            <a:pPr marL="0">
              <a:lnSpc>
                <a:spcPct val="100000"/>
              </a:lnSpc>
              <a:spcAft>
                <a:spcPts val="800"/>
              </a:spcAft>
            </a:pPr>
            <a:r>
              <a:rPr lang="en-US" sz="1200" kern="100">
                <a:effectLst/>
                <a:latin typeface="Sofia Sans" panose="020B0604020202020204" charset="0"/>
                <a:ea typeface="Aptos" panose="020B0004020202020204" pitchFamily="34" charset="0"/>
                <a:cs typeface="Times New Roman" panose="02020603050405020304" pitchFamily="18" charset="0"/>
              </a:rPr>
              <a:t>Batteries are indispensable for maintaining reliability and handling demand fluctuations in a renewable energy-based grid.</a:t>
            </a:r>
          </a:p>
          <a:p>
            <a:pPr marL="0">
              <a:lnSpc>
                <a:spcPct val="100000"/>
              </a:lnSpc>
              <a:spcAft>
                <a:spcPts val="800"/>
              </a:spcAft>
            </a:pPr>
            <a:r>
              <a:rPr lang="en-US" sz="1200" kern="100">
                <a:effectLst/>
                <a:latin typeface="Sofia Sans" panose="020B0604020202020204" charset="0"/>
                <a:ea typeface="Aptos" panose="020B0004020202020204" pitchFamily="34" charset="0"/>
                <a:cs typeface="Times New Roman" panose="02020603050405020304" pitchFamily="18" charset="0"/>
              </a:rPr>
              <a:t>Connecting multiple energy sources reduces risks associated with the variability of any single resource.</a:t>
            </a:r>
          </a:p>
          <a:p>
            <a:pPr marL="0">
              <a:lnSpc>
                <a:spcPct val="100000"/>
              </a:lnSpc>
              <a:spcAft>
                <a:spcPts val="800"/>
              </a:spcAft>
            </a:pPr>
            <a:r>
              <a:rPr lang="en-US" sz="1200" kern="100">
                <a:effectLst/>
                <a:latin typeface="Sofia Sans" panose="020B0604020202020204" charset="0"/>
                <a:ea typeface="Aptos" panose="020B0004020202020204" pitchFamily="34" charset="0"/>
                <a:cs typeface="Times New Roman" panose="02020603050405020304" pitchFamily="18" charset="0"/>
              </a:rPr>
              <a:t>Thoughtful grid design and interconnections create a robust system that minimizes disruptions and maximizes efficiency.</a:t>
            </a:r>
            <a:endParaRPr lang="en-US" sz="1200"/>
          </a:p>
          <a:p>
            <a:pPr>
              <a:buFont typeface="Arial" panose="020B0604020202020204" pitchFamily="34" charset="0"/>
              <a:buChar char="•"/>
            </a:pPr>
            <a:endParaRPr lang="en-US" sz="1200"/>
          </a:p>
        </p:txBody>
      </p:sp>
    </p:spTree>
    <p:extLst>
      <p:ext uri="{BB962C8B-B14F-4D97-AF65-F5344CB8AC3E}">
        <p14:creationId xmlns:p14="http://schemas.microsoft.com/office/powerpoint/2010/main" val="8118877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Ein Bild, das Cartoon enthält.&#10;&#10;Automatisch generierte Beschreibung">
            <a:extLst>
              <a:ext uri="{FF2B5EF4-FFF2-40B4-BE49-F238E27FC236}">
                <a16:creationId xmlns:a16="http://schemas.microsoft.com/office/drawing/2014/main" id="{0BFF40D5-6F2E-0335-E568-C32556BE57D9}"/>
              </a:ext>
            </a:extLst>
          </p:cNvPr>
          <p:cNvPicPr>
            <a:picLocks noChangeAspect="1"/>
          </p:cNvPicPr>
          <p:nvPr/>
        </p:nvPicPr>
        <p:blipFill rotWithShape="1">
          <a:blip r:embed="rId3"/>
          <a:srcRect l="4455" t="75741" r="75134" b="4504"/>
          <a:stretch/>
        </p:blipFill>
        <p:spPr>
          <a:xfrm>
            <a:off x="2712631" y="4945989"/>
            <a:ext cx="1389653" cy="1389653"/>
          </a:xfrm>
          <a:prstGeom prst="ellipse">
            <a:avLst/>
          </a:prstGeom>
        </p:spPr>
      </p:pic>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itel 2">
            <a:extLst>
              <a:ext uri="{FF2B5EF4-FFF2-40B4-BE49-F238E27FC236}">
                <a16:creationId xmlns:a16="http://schemas.microsoft.com/office/drawing/2014/main" id="{09B6353F-CB41-C93E-F3AB-4184CA505A42}"/>
              </a:ext>
            </a:extLst>
          </p:cNvPr>
          <p:cNvSpPr>
            <a:spLocks noGrp="1"/>
          </p:cNvSpPr>
          <p:nvPr>
            <p:ph type="ctrTitle"/>
          </p:nvPr>
        </p:nvSpPr>
        <p:spPr>
          <a:xfrm>
            <a:off x="2712632" y="5783342"/>
            <a:ext cx="4069908" cy="1389655"/>
          </a:xfrm>
        </p:spPr>
        <p:txBody>
          <a:bodyPr/>
          <a:lstStyle/>
          <a:p>
            <a:r>
              <a:rPr lang="de-DE" sz="4000">
                <a:solidFill>
                  <a:srgbClr val="FFFFFF"/>
                </a:solidFill>
              </a:rPr>
              <a:t>Well </a:t>
            </a:r>
            <a:r>
              <a:rPr lang="de-DE" sz="4000" err="1">
                <a:solidFill>
                  <a:srgbClr val="FFFFFF"/>
                </a:solidFill>
              </a:rPr>
              <a:t>done</a:t>
            </a:r>
            <a:r>
              <a:rPr lang="de-DE" sz="4000">
                <a:solidFill>
                  <a:srgbClr val="FFFFFF"/>
                </a:solidFill>
              </a:rPr>
              <a:t>!</a:t>
            </a:r>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sp>
        <p:nvSpPr>
          <p:cNvPr id="4" name="Textfeld 3">
            <a:extLst>
              <a:ext uri="{FF2B5EF4-FFF2-40B4-BE49-F238E27FC236}">
                <a16:creationId xmlns:a16="http://schemas.microsoft.com/office/drawing/2014/main" id="{49C805EC-2EA4-FD71-C144-81A51191A0B9}"/>
              </a:ext>
            </a:extLst>
          </p:cNvPr>
          <p:cNvSpPr txBox="1"/>
          <p:nvPr/>
        </p:nvSpPr>
        <p:spPr>
          <a:xfrm>
            <a:off x="739023" y="9969471"/>
            <a:ext cx="3557894" cy="307777"/>
          </a:xfrm>
          <a:prstGeom prst="rect">
            <a:avLst/>
          </a:prstGeom>
          <a:noFill/>
        </p:spPr>
        <p:txBody>
          <a:bodyPr wrap="square" rtlCol="0">
            <a:spAutoFit/>
          </a:bodyPr>
          <a:lstStyle/>
          <a:p>
            <a:r>
              <a:rPr lang="de-DE" b="0" i="0" err="1">
                <a:solidFill>
                  <a:srgbClr val="374957"/>
                </a:solidFill>
                <a:effectLst/>
                <a:highlight>
                  <a:srgbClr val="FFFFFF"/>
                </a:highlight>
                <a:latin typeface="Inter"/>
              </a:rPr>
              <a:t>Designed</a:t>
            </a:r>
            <a:r>
              <a:rPr lang="de-DE" b="0" i="0">
                <a:solidFill>
                  <a:srgbClr val="374957"/>
                </a:solidFill>
                <a:effectLst/>
                <a:highlight>
                  <a:srgbClr val="FFFFFF"/>
                </a:highlight>
                <a:latin typeface="Inter"/>
              </a:rPr>
              <a:t> </a:t>
            </a:r>
            <a:r>
              <a:rPr lang="de-DE" b="0" i="0" err="1">
                <a:solidFill>
                  <a:srgbClr val="374957"/>
                </a:solidFill>
                <a:effectLst/>
                <a:highlight>
                  <a:srgbClr val="FFFFFF"/>
                </a:highlight>
                <a:latin typeface="Inter"/>
              </a:rPr>
              <a:t>by</a:t>
            </a:r>
            <a:r>
              <a:rPr lang="de-DE" b="0" i="0">
                <a:solidFill>
                  <a:srgbClr val="374957"/>
                </a:solidFill>
                <a:effectLst/>
                <a:highlight>
                  <a:srgbClr val="FFFFFF"/>
                </a:highlight>
                <a:latin typeface="Inter"/>
              </a:rPr>
              <a:t> </a:t>
            </a:r>
            <a:r>
              <a:rPr lang="de-DE" b="0" i="0" err="1">
                <a:solidFill>
                  <a:srgbClr val="374957"/>
                </a:solidFill>
                <a:effectLst/>
                <a:highlight>
                  <a:srgbClr val="FFFFFF"/>
                </a:highlight>
                <a:latin typeface="Inter"/>
              </a:rPr>
              <a:t>Slidesgo</a:t>
            </a:r>
            <a:r>
              <a:rPr lang="de-DE" b="0" i="0">
                <a:solidFill>
                  <a:srgbClr val="374957"/>
                </a:solidFill>
                <a:effectLst/>
                <a:highlight>
                  <a:srgbClr val="FFFFFF"/>
                </a:highlight>
                <a:latin typeface="Inter"/>
              </a:rPr>
              <a:t> und </a:t>
            </a:r>
            <a:r>
              <a:rPr lang="de-DE" b="0" i="0" err="1">
                <a:solidFill>
                  <a:srgbClr val="374957"/>
                </a:solidFill>
                <a:effectLst/>
                <a:highlight>
                  <a:srgbClr val="FFFFFF"/>
                </a:highlight>
                <a:latin typeface="Inter"/>
              </a:rPr>
              <a:t>Freepik</a:t>
            </a:r>
            <a:endParaRPr lang="de-DE"/>
          </a:p>
        </p:txBody>
      </p:sp>
      <p:pic>
        <p:nvPicPr>
          <p:cNvPr id="5" name="Grafik 4" descr="Ein Bild, das Karte, Text, Kreis, Logo enthält.&#10;&#10;KI-generierte Inhalte können fehlerhaft sein.">
            <a:extLst>
              <a:ext uri="{FF2B5EF4-FFF2-40B4-BE49-F238E27FC236}">
                <a16:creationId xmlns:a16="http://schemas.microsoft.com/office/drawing/2014/main" id="{DA63FF7C-9A07-8A1C-A0E1-ED8019A925DC}"/>
              </a:ext>
            </a:extLst>
          </p:cNvPr>
          <p:cNvPicPr>
            <a:picLocks noChangeAspect="1"/>
          </p:cNvPicPr>
          <p:nvPr/>
        </p:nvPicPr>
        <p:blipFill>
          <a:blip r:embed="rId4"/>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3079339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729"/>
        <p:cNvGrpSpPr/>
        <p:nvPr/>
      </p:nvGrpSpPr>
      <p:grpSpPr>
        <a:xfrm>
          <a:off x="0" y="0"/>
          <a:ext cx="0" cy="0"/>
          <a:chOff x="0" y="0"/>
          <a:chExt cx="0" cy="0"/>
        </a:xfrm>
      </p:grpSpPr>
      <p:sp>
        <p:nvSpPr>
          <p:cNvPr id="730" name="Google Shape;730;p43"/>
          <p:cNvSpPr/>
          <p:nvPr/>
        </p:nvSpPr>
        <p:spPr>
          <a:xfrm>
            <a:off x="1524005" y="3449395"/>
            <a:ext cx="5749887" cy="3431663"/>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sp>
        <p:nvSpPr>
          <p:cNvPr id="731" name="Google Shape;731;p43"/>
          <p:cNvSpPr/>
          <p:nvPr/>
        </p:nvSpPr>
        <p:spPr>
          <a:xfrm rot="5400000">
            <a:off x="502117" y="6256203"/>
            <a:ext cx="327160" cy="1672345"/>
          </a:xfrm>
          <a:custGeom>
            <a:avLst/>
            <a:gdLst/>
            <a:ahLst/>
            <a:cxnLst/>
            <a:rect l="l" t="t" r="r" b="b"/>
            <a:pathLst>
              <a:path w="1427" h="3957" fill="none" extrusionOk="0">
                <a:moveTo>
                  <a:pt x="0" y="0"/>
                </a:moveTo>
                <a:lnTo>
                  <a:pt x="0" y="0"/>
                </a:lnTo>
                <a:cubicBezTo>
                  <a:pt x="959" y="0"/>
                  <a:pt x="959" y="0"/>
                  <a:pt x="959" y="0"/>
                </a:cubicBezTo>
                <a:cubicBezTo>
                  <a:pt x="1216" y="0"/>
                  <a:pt x="1427" y="207"/>
                  <a:pt x="1427" y="465"/>
                </a:cubicBezTo>
                <a:cubicBezTo>
                  <a:pt x="1427" y="3957"/>
                  <a:pt x="1427" y="3957"/>
                  <a:pt x="1427" y="3957"/>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732" name="Google Shape;732;p43"/>
          <p:cNvCxnSpPr/>
          <p:nvPr/>
        </p:nvCxnSpPr>
        <p:spPr>
          <a:xfrm>
            <a:off x="1501869" y="5760741"/>
            <a:ext cx="0" cy="308538"/>
          </a:xfrm>
          <a:prstGeom prst="straightConnector1">
            <a:avLst/>
          </a:prstGeom>
          <a:noFill/>
          <a:ln w="9525" cap="flat" cmpd="sng">
            <a:solidFill>
              <a:schemeClr val="dk1"/>
            </a:solidFill>
            <a:prstDash val="dash"/>
            <a:round/>
            <a:headEnd type="none" w="med" len="med"/>
            <a:tailEnd type="none" w="med" len="med"/>
          </a:ln>
        </p:spPr>
      </p:cxnSp>
      <p:sp>
        <p:nvSpPr>
          <p:cNvPr id="733" name="Google Shape;733;p43"/>
          <p:cNvSpPr txBox="1">
            <a:spLocks noGrp="1"/>
          </p:cNvSpPr>
          <p:nvPr>
            <p:ph type="title"/>
          </p:nvPr>
        </p:nvSpPr>
        <p:spPr>
          <a:xfrm>
            <a:off x="2925833" y="3665771"/>
            <a:ext cx="4044228" cy="875266"/>
          </a:xfrm>
          <a:prstGeom prst="rect">
            <a:avLst/>
          </a:prstGeom>
        </p:spPr>
        <p:txBody>
          <a:bodyPr spcFirstLastPara="1" wrap="square" lIns="75584" tIns="75584" rIns="75584" bIns="75584" anchor="b" anchorCtr="0">
            <a:noAutofit/>
          </a:bodyPr>
          <a:lstStyle/>
          <a:p>
            <a:r>
              <a:rPr lang="en"/>
              <a:t>Thanks!</a:t>
            </a:r>
            <a:endParaRPr/>
          </a:p>
        </p:txBody>
      </p:sp>
      <p:sp>
        <p:nvSpPr>
          <p:cNvPr id="734" name="Google Shape;734;p43"/>
          <p:cNvSpPr txBox="1">
            <a:spLocks noGrp="1"/>
          </p:cNvSpPr>
          <p:nvPr>
            <p:ph type="subTitle" idx="1"/>
          </p:nvPr>
        </p:nvSpPr>
        <p:spPr>
          <a:xfrm>
            <a:off x="2925798" y="4541037"/>
            <a:ext cx="4044228" cy="590290"/>
          </a:xfrm>
          <a:prstGeom prst="rect">
            <a:avLst/>
          </a:prstGeom>
        </p:spPr>
        <p:txBody>
          <a:bodyPr spcFirstLastPara="1" wrap="square" lIns="75584" tIns="75584" rIns="75584" bIns="75584" anchor="t" anchorCtr="0">
            <a:noAutofit/>
          </a:bodyPr>
          <a:lstStyle/>
          <a:p>
            <a:pPr marL="0" indent="0"/>
            <a:r>
              <a:rPr lang="en" b="1"/>
              <a:t>Do you have any questions?</a:t>
            </a:r>
            <a:endParaRPr b="1"/>
          </a:p>
          <a:p>
            <a:pPr marL="0" indent="0"/>
            <a:r>
              <a:rPr lang="en">
                <a:uFill>
                  <a:noFill/>
                </a:uFill>
                <a:hlinkClick r:id="rId3"/>
              </a:rPr>
              <a:t>youremail@freepik.com</a:t>
            </a:r>
            <a:r>
              <a:rPr lang="en"/>
              <a:t> |+34 654 321 432 | yourwebsite.com</a:t>
            </a:r>
            <a:endParaRPr/>
          </a:p>
        </p:txBody>
      </p:sp>
      <p:sp>
        <p:nvSpPr>
          <p:cNvPr id="735" name="Google Shape;735;p43"/>
          <p:cNvSpPr txBox="1"/>
          <p:nvPr/>
        </p:nvSpPr>
        <p:spPr>
          <a:xfrm>
            <a:off x="2925756" y="6723703"/>
            <a:ext cx="4044228" cy="302337"/>
          </a:xfrm>
          <a:prstGeom prst="rect">
            <a:avLst/>
          </a:prstGeom>
          <a:solidFill>
            <a:schemeClr val="accent5">
              <a:lumMod val="20000"/>
              <a:lumOff val="80000"/>
            </a:schemeClr>
          </a:solidFill>
          <a:ln w="9525" cap="flat" cmpd="sng">
            <a:solidFill>
              <a:schemeClr val="dk1"/>
            </a:solidFill>
            <a:prstDash val="solid"/>
            <a:round/>
            <a:headEnd type="none" w="sm" len="sm"/>
            <a:tailEnd type="none" w="sm" len="sm"/>
          </a:ln>
        </p:spPr>
        <p:txBody>
          <a:bodyPr spcFirstLastPara="1" wrap="square" lIns="75584" tIns="75584" rIns="75584" bIns="75584" anchor="ctr" anchorCtr="0">
            <a:noAutofit/>
          </a:bodyPr>
          <a:lstStyle/>
          <a:p>
            <a:pPr>
              <a:lnSpc>
                <a:spcPct val="115000"/>
              </a:lnSpc>
            </a:pPr>
            <a:r>
              <a:rPr lang="en" sz="909">
                <a:solidFill>
                  <a:schemeClr val="dk1"/>
                </a:solidFill>
                <a:latin typeface="Sofia Sans"/>
                <a:ea typeface="Sofia Sans"/>
                <a:cs typeface="Sofia Sans"/>
                <a:sym typeface="Sofia Sans"/>
              </a:rPr>
              <a:t>Please keep this slide for attribution</a:t>
            </a:r>
            <a:endParaRPr sz="909">
              <a:solidFill>
                <a:schemeClr val="dk1"/>
              </a:solidFill>
              <a:latin typeface="Sofia Sans"/>
              <a:ea typeface="Sofia Sans"/>
              <a:cs typeface="Sofia Sans"/>
              <a:sym typeface="Sofia Sans"/>
            </a:endParaRPr>
          </a:p>
        </p:txBody>
      </p:sp>
      <p:grpSp>
        <p:nvGrpSpPr>
          <p:cNvPr id="736" name="Google Shape;736;p43"/>
          <p:cNvGrpSpPr/>
          <p:nvPr/>
        </p:nvGrpSpPr>
        <p:grpSpPr>
          <a:xfrm>
            <a:off x="1188022" y="5886430"/>
            <a:ext cx="652989" cy="1139606"/>
            <a:chOff x="2368440" y="827280"/>
            <a:chExt cx="789840" cy="1378440"/>
          </a:xfrm>
        </p:grpSpPr>
        <p:sp>
          <p:nvSpPr>
            <p:cNvPr id="737" name="Google Shape;737;p43"/>
            <p:cNvSpPr/>
            <p:nvPr/>
          </p:nvSpPr>
          <p:spPr>
            <a:xfrm>
              <a:off x="2368440" y="827280"/>
              <a:ext cx="789840" cy="1106280"/>
            </a:xfrm>
            <a:custGeom>
              <a:avLst/>
              <a:gdLst/>
              <a:ahLst/>
              <a:cxnLst/>
              <a:rect l="l" t="t" r="r" b="b"/>
              <a:pathLst>
                <a:path w="2194" h="3073" extrusionOk="0">
                  <a:moveTo>
                    <a:pt x="263" y="1838"/>
                  </a:moveTo>
                  <a:lnTo>
                    <a:pt x="263" y="1838"/>
                  </a:lnTo>
                  <a:cubicBezTo>
                    <a:pt x="109" y="1653"/>
                    <a:pt x="0" y="1406"/>
                    <a:pt x="0" y="1128"/>
                  </a:cubicBezTo>
                  <a:cubicBezTo>
                    <a:pt x="0" y="525"/>
                    <a:pt x="465" y="46"/>
                    <a:pt x="1051" y="0"/>
                  </a:cubicBezTo>
                  <a:cubicBezTo>
                    <a:pt x="1144" y="0"/>
                    <a:pt x="1144" y="0"/>
                    <a:pt x="1144" y="0"/>
                  </a:cubicBezTo>
                  <a:cubicBezTo>
                    <a:pt x="1731" y="46"/>
                    <a:pt x="2194" y="525"/>
                    <a:pt x="2194" y="1128"/>
                  </a:cubicBezTo>
                  <a:cubicBezTo>
                    <a:pt x="2194" y="1406"/>
                    <a:pt x="2086" y="1653"/>
                    <a:pt x="1931" y="1838"/>
                  </a:cubicBezTo>
                  <a:lnTo>
                    <a:pt x="1931" y="1838"/>
                  </a:lnTo>
                  <a:cubicBezTo>
                    <a:pt x="1931" y="1838"/>
                    <a:pt x="1654" y="2563"/>
                    <a:pt x="1700" y="2857"/>
                  </a:cubicBezTo>
                  <a:cubicBezTo>
                    <a:pt x="1715" y="2873"/>
                    <a:pt x="1731" y="2902"/>
                    <a:pt x="1731" y="2919"/>
                  </a:cubicBezTo>
                  <a:cubicBezTo>
                    <a:pt x="1731" y="2950"/>
                    <a:pt x="1731" y="2950"/>
                    <a:pt x="1731" y="2950"/>
                  </a:cubicBezTo>
                  <a:cubicBezTo>
                    <a:pt x="1731" y="3027"/>
                    <a:pt x="1669" y="3073"/>
                    <a:pt x="1592" y="3073"/>
                  </a:cubicBezTo>
                  <a:cubicBezTo>
                    <a:pt x="1098" y="3073"/>
                    <a:pt x="1098" y="3073"/>
                    <a:pt x="1098" y="3073"/>
                  </a:cubicBezTo>
                  <a:lnTo>
                    <a:pt x="1098" y="3073"/>
                  </a:lnTo>
                  <a:cubicBezTo>
                    <a:pt x="603" y="3073"/>
                    <a:pt x="603" y="3073"/>
                    <a:pt x="603" y="3073"/>
                  </a:cubicBezTo>
                  <a:cubicBezTo>
                    <a:pt x="525" y="3073"/>
                    <a:pt x="465" y="3027"/>
                    <a:pt x="465" y="2950"/>
                  </a:cubicBezTo>
                  <a:cubicBezTo>
                    <a:pt x="465" y="2919"/>
                    <a:pt x="465" y="2919"/>
                    <a:pt x="465" y="2919"/>
                  </a:cubicBezTo>
                  <a:cubicBezTo>
                    <a:pt x="465" y="2902"/>
                    <a:pt x="480" y="2873"/>
                    <a:pt x="494" y="2857"/>
                  </a:cubicBezTo>
                  <a:cubicBezTo>
                    <a:pt x="542" y="2563"/>
                    <a:pt x="263" y="1838"/>
                    <a:pt x="263" y="1838"/>
                  </a:cubicBezTo>
                  <a:close/>
                </a:path>
              </a:pathLst>
            </a:custGeom>
            <a:solidFill>
              <a:schemeClr val="lt2"/>
            </a:solidFill>
            <a:ln>
              <a:noFill/>
            </a:ln>
          </p:spPr>
          <p:txBody>
            <a:bodyPr spcFirstLastPara="1" wrap="square" lIns="74406" tIns="37203" rIns="74406" bIns="37203" anchor="ctr" anchorCtr="1">
              <a:noAutofit/>
            </a:bodyPr>
            <a:lstStyle/>
            <a:p>
              <a:endParaRPr sz="1488"/>
            </a:p>
          </p:txBody>
        </p:sp>
        <p:sp>
          <p:nvSpPr>
            <p:cNvPr id="738" name="Google Shape;738;p43"/>
            <p:cNvSpPr/>
            <p:nvPr/>
          </p:nvSpPr>
          <p:spPr>
            <a:xfrm>
              <a:off x="2674440" y="1533240"/>
              <a:ext cx="177840" cy="433800"/>
            </a:xfrm>
            <a:custGeom>
              <a:avLst/>
              <a:gdLst/>
              <a:ahLst/>
              <a:cxnLst/>
              <a:rect l="l" t="t" r="r" b="b"/>
              <a:pathLst>
                <a:path w="494" h="1205" extrusionOk="0">
                  <a:moveTo>
                    <a:pt x="494" y="958"/>
                  </a:moveTo>
                  <a:lnTo>
                    <a:pt x="494" y="958"/>
                  </a:lnTo>
                  <a:cubicBezTo>
                    <a:pt x="494" y="1097"/>
                    <a:pt x="386" y="1205"/>
                    <a:pt x="248" y="1205"/>
                  </a:cubicBezTo>
                  <a:lnTo>
                    <a:pt x="248" y="1205"/>
                  </a:lnTo>
                  <a:cubicBezTo>
                    <a:pt x="109" y="1205"/>
                    <a:pt x="0" y="1097"/>
                    <a:pt x="0" y="958"/>
                  </a:cubicBezTo>
                  <a:cubicBezTo>
                    <a:pt x="0" y="247"/>
                    <a:pt x="0" y="247"/>
                    <a:pt x="0" y="247"/>
                  </a:cubicBezTo>
                  <a:cubicBezTo>
                    <a:pt x="0" y="108"/>
                    <a:pt x="109" y="0"/>
                    <a:pt x="248" y="0"/>
                  </a:cubicBezTo>
                  <a:lnTo>
                    <a:pt x="248" y="0"/>
                  </a:lnTo>
                  <a:cubicBezTo>
                    <a:pt x="386" y="0"/>
                    <a:pt x="494" y="108"/>
                    <a:pt x="494" y="247"/>
                  </a:cubicBezTo>
                  <a:lnTo>
                    <a:pt x="494" y="958"/>
                  </a:lnTo>
                  <a:close/>
                </a:path>
              </a:pathLst>
            </a:custGeom>
            <a:solidFill>
              <a:schemeClr val="dk2"/>
            </a:solidFill>
            <a:ln>
              <a:noFill/>
            </a:ln>
          </p:spPr>
          <p:txBody>
            <a:bodyPr spcFirstLastPara="1" wrap="square" lIns="74406" tIns="37203" rIns="74406" bIns="37203" anchor="ctr" anchorCtr="1">
              <a:noAutofit/>
            </a:bodyPr>
            <a:lstStyle/>
            <a:p>
              <a:endParaRPr sz="1488"/>
            </a:p>
          </p:txBody>
        </p:sp>
        <p:sp>
          <p:nvSpPr>
            <p:cNvPr id="739" name="Google Shape;739;p43"/>
            <p:cNvSpPr/>
            <p:nvPr/>
          </p:nvSpPr>
          <p:spPr>
            <a:xfrm>
              <a:off x="2624400" y="2139120"/>
              <a:ext cx="278280" cy="66600"/>
            </a:xfrm>
            <a:custGeom>
              <a:avLst/>
              <a:gdLst/>
              <a:ahLst/>
              <a:cxnLst/>
              <a:rect l="l" t="t" r="r" b="b"/>
              <a:pathLst>
                <a:path w="773" h="185" extrusionOk="0">
                  <a:moveTo>
                    <a:pt x="0" y="93"/>
                  </a:moveTo>
                  <a:lnTo>
                    <a:pt x="0" y="93"/>
                  </a:lnTo>
                  <a:cubicBezTo>
                    <a:pt x="0" y="139"/>
                    <a:pt x="170" y="185"/>
                    <a:pt x="387" y="185"/>
                  </a:cubicBezTo>
                  <a:cubicBezTo>
                    <a:pt x="604" y="185"/>
                    <a:pt x="773" y="139"/>
                    <a:pt x="773" y="93"/>
                  </a:cubicBezTo>
                  <a:cubicBezTo>
                    <a:pt x="773" y="47"/>
                    <a:pt x="604" y="0"/>
                    <a:pt x="387" y="0"/>
                  </a:cubicBezTo>
                  <a:cubicBezTo>
                    <a:pt x="170" y="0"/>
                    <a:pt x="0" y="47"/>
                    <a:pt x="0" y="93"/>
                  </a:cubicBezTo>
                  <a:close/>
                </a:path>
              </a:pathLst>
            </a:custGeom>
            <a:solidFill>
              <a:schemeClr val="dk1"/>
            </a:solidFill>
            <a:ln>
              <a:noFill/>
            </a:ln>
          </p:spPr>
          <p:txBody>
            <a:bodyPr spcFirstLastPara="1" wrap="square" lIns="74406" tIns="17858" rIns="74406" bIns="17858" anchor="ctr" anchorCtr="1">
              <a:noAutofit/>
            </a:bodyPr>
            <a:lstStyle/>
            <a:p>
              <a:endParaRPr sz="1488"/>
            </a:p>
          </p:txBody>
        </p:sp>
        <p:sp>
          <p:nvSpPr>
            <p:cNvPr id="740" name="Google Shape;740;p43"/>
            <p:cNvSpPr/>
            <p:nvPr/>
          </p:nvSpPr>
          <p:spPr>
            <a:xfrm>
              <a:off x="2552400" y="1928160"/>
              <a:ext cx="422640" cy="77400"/>
            </a:xfrm>
            <a:custGeom>
              <a:avLst/>
              <a:gdLst/>
              <a:ahLst/>
              <a:cxnLst/>
              <a:rect l="l" t="t" r="r" b="b"/>
              <a:pathLst>
                <a:path w="1174" h="215" extrusionOk="0">
                  <a:moveTo>
                    <a:pt x="1174" y="108"/>
                  </a:moveTo>
                  <a:lnTo>
                    <a:pt x="1174" y="108"/>
                  </a:lnTo>
                  <a:cubicBezTo>
                    <a:pt x="1174" y="169"/>
                    <a:pt x="1127" y="215"/>
                    <a:pt x="1081" y="215"/>
                  </a:cubicBezTo>
                  <a:cubicBezTo>
                    <a:pt x="92" y="215"/>
                    <a:pt x="92" y="215"/>
                    <a:pt x="92" y="215"/>
                  </a:cubicBezTo>
                  <a:cubicBezTo>
                    <a:pt x="46" y="215"/>
                    <a:pt x="0" y="169"/>
                    <a:pt x="0" y="108"/>
                  </a:cubicBezTo>
                  <a:cubicBezTo>
                    <a:pt x="0" y="92"/>
                    <a:pt x="0" y="92"/>
                    <a:pt x="0" y="77"/>
                  </a:cubicBezTo>
                  <a:cubicBezTo>
                    <a:pt x="14" y="30"/>
                    <a:pt x="46" y="0"/>
                    <a:pt x="92" y="0"/>
                  </a:cubicBezTo>
                  <a:cubicBezTo>
                    <a:pt x="1081" y="0"/>
                    <a:pt x="1081" y="0"/>
                    <a:pt x="1081" y="0"/>
                  </a:cubicBezTo>
                  <a:cubicBezTo>
                    <a:pt x="1096" y="0"/>
                    <a:pt x="1127" y="15"/>
                    <a:pt x="1143" y="30"/>
                  </a:cubicBezTo>
                  <a:cubicBezTo>
                    <a:pt x="1158" y="46"/>
                    <a:pt x="1174" y="61"/>
                    <a:pt x="1174" y="77"/>
                  </a:cubicBezTo>
                  <a:cubicBezTo>
                    <a:pt x="1174" y="92"/>
                    <a:pt x="1174" y="92"/>
                    <a:pt x="1174" y="108"/>
                  </a:cubicBezTo>
                  <a:close/>
                </a:path>
              </a:pathLst>
            </a:custGeom>
            <a:solidFill>
              <a:schemeClr val="accent6"/>
            </a:solidFill>
            <a:ln>
              <a:noFill/>
            </a:ln>
          </p:spPr>
          <p:txBody>
            <a:bodyPr spcFirstLastPara="1" wrap="square" lIns="74406" tIns="26786" rIns="74406" bIns="26786" anchor="ctr" anchorCtr="1">
              <a:noAutofit/>
            </a:bodyPr>
            <a:lstStyle/>
            <a:p>
              <a:endParaRPr sz="1488"/>
            </a:p>
          </p:txBody>
        </p:sp>
        <p:sp>
          <p:nvSpPr>
            <p:cNvPr id="741" name="Google Shape;741;p43"/>
            <p:cNvSpPr/>
            <p:nvPr/>
          </p:nvSpPr>
          <p:spPr>
            <a:xfrm>
              <a:off x="2552400" y="2005560"/>
              <a:ext cx="422640" cy="78120"/>
            </a:xfrm>
            <a:custGeom>
              <a:avLst/>
              <a:gdLst/>
              <a:ahLst/>
              <a:cxnLst/>
              <a:rect l="l" t="t" r="r" b="b"/>
              <a:pathLst>
                <a:path w="1174" h="217" extrusionOk="0">
                  <a:moveTo>
                    <a:pt x="1174" y="108"/>
                  </a:moveTo>
                  <a:lnTo>
                    <a:pt x="1174" y="108"/>
                  </a:lnTo>
                  <a:cubicBezTo>
                    <a:pt x="1174" y="171"/>
                    <a:pt x="1127" y="217"/>
                    <a:pt x="1081" y="217"/>
                  </a:cubicBezTo>
                  <a:cubicBezTo>
                    <a:pt x="92" y="217"/>
                    <a:pt x="92" y="217"/>
                    <a:pt x="92" y="217"/>
                  </a:cubicBezTo>
                  <a:cubicBezTo>
                    <a:pt x="46" y="217"/>
                    <a:pt x="0" y="171"/>
                    <a:pt x="0" y="108"/>
                  </a:cubicBezTo>
                  <a:cubicBezTo>
                    <a:pt x="0" y="94"/>
                    <a:pt x="0" y="94"/>
                    <a:pt x="0" y="79"/>
                  </a:cubicBezTo>
                  <a:cubicBezTo>
                    <a:pt x="14" y="31"/>
                    <a:pt x="46" y="0"/>
                    <a:pt x="92" y="0"/>
                  </a:cubicBezTo>
                  <a:cubicBezTo>
                    <a:pt x="1081" y="0"/>
                    <a:pt x="1081" y="0"/>
                    <a:pt x="1081" y="0"/>
                  </a:cubicBezTo>
                  <a:cubicBezTo>
                    <a:pt x="1096" y="0"/>
                    <a:pt x="1127" y="17"/>
                    <a:pt x="1143" y="31"/>
                  </a:cubicBezTo>
                  <a:cubicBezTo>
                    <a:pt x="1158" y="48"/>
                    <a:pt x="1174" y="63"/>
                    <a:pt x="1174" y="79"/>
                  </a:cubicBezTo>
                  <a:cubicBezTo>
                    <a:pt x="1174" y="94"/>
                    <a:pt x="1174" y="94"/>
                    <a:pt x="1174" y="108"/>
                  </a:cubicBezTo>
                  <a:close/>
                </a:path>
              </a:pathLst>
            </a:custGeom>
            <a:solidFill>
              <a:schemeClr val="accent6"/>
            </a:solidFill>
            <a:ln>
              <a:noFill/>
            </a:ln>
          </p:spPr>
          <p:txBody>
            <a:bodyPr spcFirstLastPara="1" wrap="square" lIns="74406" tIns="27365" rIns="74406" bIns="27365" anchor="ctr" anchorCtr="1">
              <a:noAutofit/>
            </a:bodyPr>
            <a:lstStyle/>
            <a:p>
              <a:endParaRPr sz="1488"/>
            </a:p>
          </p:txBody>
        </p:sp>
        <p:sp>
          <p:nvSpPr>
            <p:cNvPr id="742" name="Google Shape;742;p43"/>
            <p:cNvSpPr/>
            <p:nvPr/>
          </p:nvSpPr>
          <p:spPr>
            <a:xfrm>
              <a:off x="2552400" y="2083680"/>
              <a:ext cx="422640" cy="77760"/>
            </a:xfrm>
            <a:custGeom>
              <a:avLst/>
              <a:gdLst/>
              <a:ahLst/>
              <a:cxnLst/>
              <a:rect l="l" t="t" r="r" b="b"/>
              <a:pathLst>
                <a:path w="1174" h="216" extrusionOk="0">
                  <a:moveTo>
                    <a:pt x="1174" y="108"/>
                  </a:moveTo>
                  <a:lnTo>
                    <a:pt x="1174" y="108"/>
                  </a:lnTo>
                  <a:cubicBezTo>
                    <a:pt x="1174" y="170"/>
                    <a:pt x="1127" y="216"/>
                    <a:pt x="1081" y="216"/>
                  </a:cubicBezTo>
                  <a:cubicBezTo>
                    <a:pt x="92" y="216"/>
                    <a:pt x="92" y="216"/>
                    <a:pt x="92" y="216"/>
                  </a:cubicBezTo>
                  <a:cubicBezTo>
                    <a:pt x="46" y="216"/>
                    <a:pt x="0" y="170"/>
                    <a:pt x="0" y="108"/>
                  </a:cubicBezTo>
                  <a:cubicBezTo>
                    <a:pt x="0" y="93"/>
                    <a:pt x="0" y="93"/>
                    <a:pt x="0" y="77"/>
                  </a:cubicBezTo>
                  <a:cubicBezTo>
                    <a:pt x="14" y="31"/>
                    <a:pt x="46" y="0"/>
                    <a:pt x="92" y="0"/>
                  </a:cubicBezTo>
                  <a:cubicBezTo>
                    <a:pt x="1081" y="0"/>
                    <a:pt x="1081" y="0"/>
                    <a:pt x="1081" y="0"/>
                  </a:cubicBezTo>
                  <a:cubicBezTo>
                    <a:pt x="1096" y="0"/>
                    <a:pt x="1127" y="16"/>
                    <a:pt x="1143" y="31"/>
                  </a:cubicBezTo>
                  <a:cubicBezTo>
                    <a:pt x="1158" y="47"/>
                    <a:pt x="1174" y="62"/>
                    <a:pt x="1174" y="77"/>
                  </a:cubicBezTo>
                  <a:cubicBezTo>
                    <a:pt x="1174" y="93"/>
                    <a:pt x="1174" y="93"/>
                    <a:pt x="1174" y="108"/>
                  </a:cubicBezTo>
                  <a:close/>
                </a:path>
              </a:pathLst>
            </a:custGeom>
            <a:solidFill>
              <a:schemeClr val="accent6"/>
            </a:solidFill>
            <a:ln>
              <a:noFill/>
            </a:ln>
          </p:spPr>
          <p:txBody>
            <a:bodyPr spcFirstLastPara="1" wrap="square" lIns="74406" tIns="27076" rIns="74406" bIns="27076" anchor="ctr" anchorCtr="1">
              <a:noAutofit/>
            </a:bodyPr>
            <a:lstStyle/>
            <a:p>
              <a:endParaRPr sz="1488"/>
            </a:p>
          </p:txBody>
        </p:sp>
        <p:sp>
          <p:nvSpPr>
            <p:cNvPr id="743" name="Google Shape;743;p43"/>
            <p:cNvSpPr/>
            <p:nvPr/>
          </p:nvSpPr>
          <p:spPr>
            <a:xfrm>
              <a:off x="2490840" y="1161000"/>
              <a:ext cx="545040" cy="767160"/>
            </a:xfrm>
            <a:custGeom>
              <a:avLst/>
              <a:gdLst/>
              <a:ahLst/>
              <a:cxnLst/>
              <a:rect l="l" t="t" r="r" b="b"/>
              <a:pathLst>
                <a:path w="1514" h="2131" extrusionOk="0">
                  <a:moveTo>
                    <a:pt x="1020" y="2131"/>
                  </a:moveTo>
                  <a:lnTo>
                    <a:pt x="1020" y="2131"/>
                  </a:lnTo>
                  <a:cubicBezTo>
                    <a:pt x="958" y="2131"/>
                    <a:pt x="958" y="2131"/>
                    <a:pt x="958" y="2131"/>
                  </a:cubicBezTo>
                  <a:cubicBezTo>
                    <a:pt x="975" y="1157"/>
                    <a:pt x="975" y="1157"/>
                    <a:pt x="975" y="1157"/>
                  </a:cubicBezTo>
                  <a:cubicBezTo>
                    <a:pt x="1345" y="279"/>
                    <a:pt x="1345" y="279"/>
                    <a:pt x="1345" y="279"/>
                  </a:cubicBezTo>
                  <a:cubicBezTo>
                    <a:pt x="1206" y="279"/>
                    <a:pt x="989" y="231"/>
                    <a:pt x="943" y="185"/>
                  </a:cubicBezTo>
                  <a:cubicBezTo>
                    <a:pt x="927" y="170"/>
                    <a:pt x="912" y="154"/>
                    <a:pt x="912" y="139"/>
                  </a:cubicBezTo>
                  <a:cubicBezTo>
                    <a:pt x="866" y="154"/>
                    <a:pt x="804" y="154"/>
                    <a:pt x="773" y="154"/>
                  </a:cubicBezTo>
                  <a:cubicBezTo>
                    <a:pt x="727" y="154"/>
                    <a:pt x="665" y="154"/>
                    <a:pt x="604" y="139"/>
                  </a:cubicBezTo>
                  <a:cubicBezTo>
                    <a:pt x="604" y="154"/>
                    <a:pt x="587" y="170"/>
                    <a:pt x="573" y="185"/>
                  </a:cubicBezTo>
                  <a:cubicBezTo>
                    <a:pt x="525" y="231"/>
                    <a:pt x="310" y="279"/>
                    <a:pt x="171" y="279"/>
                  </a:cubicBezTo>
                  <a:cubicBezTo>
                    <a:pt x="556" y="1157"/>
                    <a:pt x="556" y="1157"/>
                    <a:pt x="556" y="1157"/>
                  </a:cubicBezTo>
                  <a:cubicBezTo>
                    <a:pt x="556" y="2131"/>
                    <a:pt x="556" y="2131"/>
                    <a:pt x="556" y="2131"/>
                  </a:cubicBezTo>
                  <a:cubicBezTo>
                    <a:pt x="495" y="2131"/>
                    <a:pt x="495" y="2131"/>
                    <a:pt x="495" y="2131"/>
                  </a:cubicBezTo>
                  <a:cubicBezTo>
                    <a:pt x="495" y="1173"/>
                    <a:pt x="495" y="1173"/>
                    <a:pt x="495" y="1173"/>
                  </a:cubicBezTo>
                  <a:cubicBezTo>
                    <a:pt x="108" y="279"/>
                    <a:pt x="108" y="279"/>
                    <a:pt x="108" y="279"/>
                  </a:cubicBezTo>
                  <a:cubicBezTo>
                    <a:pt x="77" y="279"/>
                    <a:pt x="62" y="262"/>
                    <a:pt x="48" y="262"/>
                  </a:cubicBezTo>
                  <a:cubicBezTo>
                    <a:pt x="16" y="247"/>
                    <a:pt x="0" y="216"/>
                    <a:pt x="0" y="201"/>
                  </a:cubicBezTo>
                  <a:cubicBezTo>
                    <a:pt x="16" y="185"/>
                    <a:pt x="16" y="139"/>
                    <a:pt x="48" y="139"/>
                  </a:cubicBezTo>
                  <a:cubicBezTo>
                    <a:pt x="77" y="123"/>
                    <a:pt x="108" y="170"/>
                    <a:pt x="125" y="185"/>
                  </a:cubicBezTo>
                  <a:cubicBezTo>
                    <a:pt x="140" y="231"/>
                    <a:pt x="140" y="231"/>
                    <a:pt x="140" y="231"/>
                  </a:cubicBezTo>
                  <a:cubicBezTo>
                    <a:pt x="279" y="231"/>
                    <a:pt x="495" y="185"/>
                    <a:pt x="541" y="139"/>
                  </a:cubicBezTo>
                  <a:lnTo>
                    <a:pt x="556" y="123"/>
                  </a:lnTo>
                  <a:cubicBezTo>
                    <a:pt x="525" y="108"/>
                    <a:pt x="495" y="93"/>
                    <a:pt x="495" y="77"/>
                  </a:cubicBezTo>
                  <a:cubicBezTo>
                    <a:pt x="479" y="62"/>
                    <a:pt x="495" y="46"/>
                    <a:pt x="510" y="31"/>
                  </a:cubicBezTo>
                  <a:cubicBezTo>
                    <a:pt x="525" y="0"/>
                    <a:pt x="556" y="0"/>
                    <a:pt x="573" y="0"/>
                  </a:cubicBezTo>
                  <a:cubicBezTo>
                    <a:pt x="604" y="0"/>
                    <a:pt x="619" y="31"/>
                    <a:pt x="619" y="62"/>
                  </a:cubicBezTo>
                  <a:cubicBezTo>
                    <a:pt x="619" y="62"/>
                    <a:pt x="619" y="77"/>
                    <a:pt x="619" y="93"/>
                  </a:cubicBezTo>
                  <a:cubicBezTo>
                    <a:pt x="665" y="93"/>
                    <a:pt x="711" y="108"/>
                    <a:pt x="773" y="108"/>
                  </a:cubicBezTo>
                  <a:cubicBezTo>
                    <a:pt x="819" y="108"/>
                    <a:pt x="850" y="93"/>
                    <a:pt x="896" y="93"/>
                  </a:cubicBezTo>
                  <a:cubicBezTo>
                    <a:pt x="896" y="77"/>
                    <a:pt x="896" y="62"/>
                    <a:pt x="896" y="62"/>
                  </a:cubicBezTo>
                  <a:cubicBezTo>
                    <a:pt x="896" y="31"/>
                    <a:pt x="912" y="0"/>
                    <a:pt x="943" y="0"/>
                  </a:cubicBezTo>
                  <a:cubicBezTo>
                    <a:pt x="958" y="0"/>
                    <a:pt x="989" y="0"/>
                    <a:pt x="1004" y="31"/>
                  </a:cubicBezTo>
                  <a:cubicBezTo>
                    <a:pt x="1035" y="46"/>
                    <a:pt x="1020" y="62"/>
                    <a:pt x="1020" y="77"/>
                  </a:cubicBezTo>
                  <a:cubicBezTo>
                    <a:pt x="1020" y="93"/>
                    <a:pt x="989" y="108"/>
                    <a:pt x="958" y="123"/>
                  </a:cubicBezTo>
                  <a:lnTo>
                    <a:pt x="975" y="139"/>
                  </a:lnTo>
                  <a:cubicBezTo>
                    <a:pt x="1020" y="185"/>
                    <a:pt x="1237" y="231"/>
                    <a:pt x="1375" y="231"/>
                  </a:cubicBezTo>
                  <a:cubicBezTo>
                    <a:pt x="1391" y="185"/>
                    <a:pt x="1391" y="185"/>
                    <a:pt x="1391" y="185"/>
                  </a:cubicBezTo>
                  <a:cubicBezTo>
                    <a:pt x="1406" y="170"/>
                    <a:pt x="1437" y="123"/>
                    <a:pt x="1468" y="139"/>
                  </a:cubicBezTo>
                  <a:cubicBezTo>
                    <a:pt x="1500" y="139"/>
                    <a:pt x="1500" y="185"/>
                    <a:pt x="1514" y="201"/>
                  </a:cubicBezTo>
                  <a:cubicBezTo>
                    <a:pt x="1514" y="216"/>
                    <a:pt x="1500" y="247"/>
                    <a:pt x="1468" y="262"/>
                  </a:cubicBezTo>
                  <a:cubicBezTo>
                    <a:pt x="1452" y="262"/>
                    <a:pt x="1437" y="279"/>
                    <a:pt x="1406" y="279"/>
                  </a:cubicBezTo>
                  <a:cubicBezTo>
                    <a:pt x="1020" y="1173"/>
                    <a:pt x="1020" y="1173"/>
                    <a:pt x="1020" y="1173"/>
                  </a:cubicBezTo>
                  <a:lnTo>
                    <a:pt x="1020" y="2131"/>
                  </a:lnTo>
                  <a:moveTo>
                    <a:pt x="1452" y="185"/>
                  </a:moveTo>
                  <a:lnTo>
                    <a:pt x="1452" y="185"/>
                  </a:lnTo>
                  <a:cubicBezTo>
                    <a:pt x="1452" y="201"/>
                    <a:pt x="1437" y="201"/>
                    <a:pt x="1437" y="216"/>
                  </a:cubicBezTo>
                  <a:cubicBezTo>
                    <a:pt x="1452" y="216"/>
                    <a:pt x="1452" y="201"/>
                    <a:pt x="1452" y="201"/>
                  </a:cubicBezTo>
                  <a:lnTo>
                    <a:pt x="1452" y="185"/>
                  </a:lnTo>
                  <a:moveTo>
                    <a:pt x="62" y="185"/>
                  </a:moveTo>
                  <a:lnTo>
                    <a:pt x="62" y="185"/>
                  </a:lnTo>
                  <a:cubicBezTo>
                    <a:pt x="62" y="201"/>
                    <a:pt x="62" y="201"/>
                    <a:pt x="62" y="201"/>
                  </a:cubicBezTo>
                  <a:cubicBezTo>
                    <a:pt x="62" y="201"/>
                    <a:pt x="62" y="216"/>
                    <a:pt x="77" y="216"/>
                  </a:cubicBezTo>
                  <a:lnTo>
                    <a:pt x="77" y="216"/>
                  </a:lnTo>
                  <a:cubicBezTo>
                    <a:pt x="77" y="201"/>
                    <a:pt x="62" y="201"/>
                    <a:pt x="62" y="185"/>
                  </a:cubicBezTo>
                  <a:moveTo>
                    <a:pt x="958" y="46"/>
                  </a:moveTo>
                  <a:lnTo>
                    <a:pt x="958" y="46"/>
                  </a:lnTo>
                  <a:lnTo>
                    <a:pt x="958" y="46"/>
                  </a:lnTo>
                  <a:lnTo>
                    <a:pt x="943" y="62"/>
                  </a:lnTo>
                  <a:cubicBezTo>
                    <a:pt x="943" y="77"/>
                    <a:pt x="943" y="77"/>
                    <a:pt x="943" y="77"/>
                  </a:cubicBezTo>
                  <a:cubicBezTo>
                    <a:pt x="958" y="62"/>
                    <a:pt x="958" y="62"/>
                    <a:pt x="975" y="62"/>
                  </a:cubicBezTo>
                  <a:cubicBezTo>
                    <a:pt x="958" y="62"/>
                    <a:pt x="958" y="46"/>
                    <a:pt x="958" y="46"/>
                  </a:cubicBezTo>
                  <a:moveTo>
                    <a:pt x="541" y="62"/>
                  </a:moveTo>
                  <a:lnTo>
                    <a:pt x="541" y="62"/>
                  </a:lnTo>
                  <a:cubicBezTo>
                    <a:pt x="556" y="62"/>
                    <a:pt x="556" y="62"/>
                    <a:pt x="573" y="77"/>
                  </a:cubicBezTo>
                  <a:lnTo>
                    <a:pt x="573" y="62"/>
                  </a:lnTo>
                  <a:lnTo>
                    <a:pt x="556" y="46"/>
                  </a:lnTo>
                  <a:lnTo>
                    <a:pt x="541" y="62"/>
                  </a:lnTo>
                  <a:close/>
                </a:path>
              </a:pathLst>
            </a:custGeom>
            <a:solidFill>
              <a:schemeClr val="lt1"/>
            </a:solidFill>
            <a:ln>
              <a:noFill/>
            </a:ln>
          </p:spPr>
          <p:txBody>
            <a:bodyPr spcFirstLastPara="1" wrap="square" lIns="74406" tIns="37203" rIns="74406" bIns="37203" anchor="ctr" anchorCtr="1">
              <a:noAutofit/>
            </a:bodyPr>
            <a:lstStyle/>
            <a:p>
              <a:endParaRPr sz="1488"/>
            </a:p>
          </p:txBody>
        </p:sp>
        <p:sp>
          <p:nvSpPr>
            <p:cNvPr id="744" name="Google Shape;744;p43"/>
            <p:cNvSpPr/>
            <p:nvPr/>
          </p:nvSpPr>
          <p:spPr>
            <a:xfrm>
              <a:off x="2702160" y="1205280"/>
              <a:ext cx="50400" cy="194760"/>
            </a:xfrm>
            <a:custGeom>
              <a:avLst/>
              <a:gdLst/>
              <a:ahLst/>
              <a:cxnLst/>
              <a:rect l="l" t="t" r="r" b="b"/>
              <a:pathLst>
                <a:path w="140" h="541" extrusionOk="0">
                  <a:moveTo>
                    <a:pt x="78" y="541"/>
                  </a:moveTo>
                  <a:lnTo>
                    <a:pt x="0" y="16"/>
                  </a:lnTo>
                  <a:lnTo>
                    <a:pt x="46" y="0"/>
                  </a:lnTo>
                  <a:lnTo>
                    <a:pt x="140" y="541"/>
                  </a:lnTo>
                  <a:lnTo>
                    <a:pt x="78" y="541"/>
                  </a:lnTo>
                  <a:close/>
                </a:path>
              </a:pathLst>
            </a:custGeom>
            <a:solidFill>
              <a:schemeClr val="lt1"/>
            </a:solidFill>
            <a:ln>
              <a:noFill/>
            </a:ln>
          </p:spPr>
          <p:txBody>
            <a:bodyPr spcFirstLastPara="1" wrap="square" lIns="74406" tIns="37203" rIns="74406" bIns="37203" anchor="ctr" anchorCtr="1">
              <a:noAutofit/>
            </a:bodyPr>
            <a:lstStyle/>
            <a:p>
              <a:endParaRPr sz="1488"/>
            </a:p>
          </p:txBody>
        </p:sp>
        <p:sp>
          <p:nvSpPr>
            <p:cNvPr id="745" name="Google Shape;745;p43"/>
            <p:cNvSpPr/>
            <p:nvPr/>
          </p:nvSpPr>
          <p:spPr>
            <a:xfrm>
              <a:off x="2774880" y="1205280"/>
              <a:ext cx="49680" cy="194760"/>
            </a:xfrm>
            <a:custGeom>
              <a:avLst/>
              <a:gdLst/>
              <a:ahLst/>
              <a:cxnLst/>
              <a:rect l="l" t="t" r="r" b="b"/>
              <a:pathLst>
                <a:path w="138" h="541" extrusionOk="0">
                  <a:moveTo>
                    <a:pt x="61" y="541"/>
                  </a:moveTo>
                  <a:lnTo>
                    <a:pt x="0" y="541"/>
                  </a:lnTo>
                  <a:lnTo>
                    <a:pt x="92" y="0"/>
                  </a:lnTo>
                  <a:lnTo>
                    <a:pt x="138" y="16"/>
                  </a:lnTo>
                  <a:lnTo>
                    <a:pt x="61" y="541"/>
                  </a:lnTo>
                  <a:close/>
                </a:path>
              </a:pathLst>
            </a:custGeom>
            <a:solidFill>
              <a:schemeClr val="lt1"/>
            </a:solidFill>
            <a:ln>
              <a:noFill/>
            </a:ln>
          </p:spPr>
          <p:txBody>
            <a:bodyPr spcFirstLastPara="1" wrap="square" lIns="74406" tIns="37203" rIns="74406" bIns="37203" anchor="ctr" anchorCtr="1">
              <a:noAutofit/>
            </a:bodyPr>
            <a:lstStyle/>
            <a:p>
              <a:endParaRPr sz="1488"/>
            </a:p>
          </p:txBody>
        </p:sp>
        <p:sp>
          <p:nvSpPr>
            <p:cNvPr id="746" name="Google Shape;746;p43"/>
            <p:cNvSpPr/>
            <p:nvPr/>
          </p:nvSpPr>
          <p:spPr>
            <a:xfrm>
              <a:off x="2702160" y="1377720"/>
              <a:ext cx="122400" cy="38880"/>
            </a:xfrm>
            <a:custGeom>
              <a:avLst/>
              <a:gdLst/>
              <a:ahLst/>
              <a:cxnLst/>
              <a:rect l="l" t="t" r="r" b="b"/>
              <a:pathLst>
                <a:path w="340" h="108" extrusionOk="0">
                  <a:moveTo>
                    <a:pt x="340" y="47"/>
                  </a:moveTo>
                  <a:lnTo>
                    <a:pt x="340" y="47"/>
                  </a:lnTo>
                  <a:cubicBezTo>
                    <a:pt x="340" y="77"/>
                    <a:pt x="309" y="108"/>
                    <a:pt x="279" y="108"/>
                  </a:cubicBezTo>
                  <a:cubicBezTo>
                    <a:pt x="63" y="108"/>
                    <a:pt x="63" y="108"/>
                    <a:pt x="63" y="108"/>
                  </a:cubicBezTo>
                  <a:cubicBezTo>
                    <a:pt x="32" y="108"/>
                    <a:pt x="0" y="77"/>
                    <a:pt x="0" y="47"/>
                  </a:cubicBezTo>
                  <a:lnTo>
                    <a:pt x="0" y="47"/>
                  </a:lnTo>
                  <a:cubicBezTo>
                    <a:pt x="0" y="31"/>
                    <a:pt x="32" y="0"/>
                    <a:pt x="63" y="0"/>
                  </a:cubicBezTo>
                  <a:cubicBezTo>
                    <a:pt x="279" y="0"/>
                    <a:pt x="279" y="0"/>
                    <a:pt x="279" y="0"/>
                  </a:cubicBezTo>
                  <a:cubicBezTo>
                    <a:pt x="309" y="0"/>
                    <a:pt x="340" y="31"/>
                    <a:pt x="340" y="47"/>
                  </a:cubicBezTo>
                  <a:close/>
                </a:path>
              </a:pathLst>
            </a:custGeom>
            <a:solidFill>
              <a:schemeClr val="dk2"/>
            </a:solidFill>
            <a:ln>
              <a:noFill/>
            </a:ln>
          </p:spPr>
          <p:txBody>
            <a:bodyPr spcFirstLastPara="1" wrap="square" lIns="74406" tIns="0" rIns="74406" bIns="0" anchor="ctr" anchorCtr="1">
              <a:noAutofit/>
            </a:bodyPr>
            <a:lstStyle/>
            <a:p>
              <a:endParaRPr sz="1488"/>
            </a:p>
          </p:txBody>
        </p:sp>
        <p:sp>
          <p:nvSpPr>
            <p:cNvPr id="747" name="Google Shape;747;p43"/>
            <p:cNvSpPr/>
            <p:nvPr/>
          </p:nvSpPr>
          <p:spPr>
            <a:xfrm>
              <a:off x="2736000" y="1377720"/>
              <a:ext cx="55440" cy="272520"/>
            </a:xfrm>
            <a:custGeom>
              <a:avLst/>
              <a:gdLst/>
              <a:ahLst/>
              <a:cxnLst/>
              <a:rect l="l" t="t" r="r" b="b"/>
              <a:pathLst>
                <a:path w="154" h="757" extrusionOk="0">
                  <a:moveTo>
                    <a:pt x="154" y="648"/>
                  </a:moveTo>
                  <a:lnTo>
                    <a:pt x="154" y="648"/>
                  </a:lnTo>
                  <a:cubicBezTo>
                    <a:pt x="154" y="711"/>
                    <a:pt x="123" y="757"/>
                    <a:pt x="77" y="757"/>
                  </a:cubicBezTo>
                  <a:lnTo>
                    <a:pt x="77" y="757"/>
                  </a:lnTo>
                  <a:cubicBezTo>
                    <a:pt x="30" y="757"/>
                    <a:pt x="0" y="711"/>
                    <a:pt x="0" y="648"/>
                  </a:cubicBezTo>
                  <a:cubicBezTo>
                    <a:pt x="0" y="124"/>
                    <a:pt x="0" y="124"/>
                    <a:pt x="0" y="124"/>
                  </a:cubicBezTo>
                  <a:cubicBezTo>
                    <a:pt x="0" y="47"/>
                    <a:pt x="30" y="0"/>
                    <a:pt x="77" y="0"/>
                  </a:cubicBezTo>
                  <a:lnTo>
                    <a:pt x="77" y="0"/>
                  </a:lnTo>
                  <a:cubicBezTo>
                    <a:pt x="123" y="0"/>
                    <a:pt x="154" y="47"/>
                    <a:pt x="154" y="124"/>
                  </a:cubicBezTo>
                  <a:lnTo>
                    <a:pt x="154" y="648"/>
                  </a:lnTo>
                  <a:close/>
                </a:path>
              </a:pathLst>
            </a:custGeom>
            <a:solidFill>
              <a:schemeClr val="dk2"/>
            </a:solidFill>
            <a:ln>
              <a:noFill/>
            </a:ln>
          </p:spPr>
          <p:txBody>
            <a:bodyPr spcFirstLastPara="1" wrap="square" lIns="74406" tIns="37203" rIns="74406" bIns="37203" anchor="ctr" anchorCtr="1">
              <a:noAutofit/>
            </a:bodyPr>
            <a:lstStyle/>
            <a:p>
              <a:endParaRPr sz="1488"/>
            </a:p>
          </p:txBody>
        </p:sp>
        <p:sp>
          <p:nvSpPr>
            <p:cNvPr id="748" name="Google Shape;748;p43"/>
            <p:cNvSpPr/>
            <p:nvPr/>
          </p:nvSpPr>
          <p:spPr>
            <a:xfrm>
              <a:off x="2736000" y="1633680"/>
              <a:ext cx="60840" cy="294480"/>
            </a:xfrm>
            <a:custGeom>
              <a:avLst/>
              <a:gdLst/>
              <a:ahLst/>
              <a:cxnLst/>
              <a:rect l="l" t="t" r="r" b="b"/>
              <a:pathLst>
                <a:path w="169" h="818" extrusionOk="0">
                  <a:moveTo>
                    <a:pt x="169" y="818"/>
                  </a:moveTo>
                  <a:lnTo>
                    <a:pt x="169" y="818"/>
                  </a:lnTo>
                  <a:cubicBezTo>
                    <a:pt x="169" y="92"/>
                    <a:pt x="169" y="92"/>
                    <a:pt x="169" y="92"/>
                  </a:cubicBezTo>
                  <a:cubicBezTo>
                    <a:pt x="169" y="46"/>
                    <a:pt x="138" y="0"/>
                    <a:pt x="77" y="0"/>
                  </a:cubicBezTo>
                  <a:cubicBezTo>
                    <a:pt x="30" y="0"/>
                    <a:pt x="0" y="46"/>
                    <a:pt x="0" y="92"/>
                  </a:cubicBezTo>
                  <a:cubicBezTo>
                    <a:pt x="0" y="818"/>
                    <a:pt x="0" y="818"/>
                    <a:pt x="0" y="818"/>
                  </a:cubicBezTo>
                  <a:lnTo>
                    <a:pt x="169" y="818"/>
                  </a:lnTo>
                  <a:close/>
                </a:path>
              </a:pathLst>
            </a:custGeom>
            <a:solidFill>
              <a:schemeClr val="lt1"/>
            </a:solidFill>
            <a:ln>
              <a:noFill/>
            </a:ln>
          </p:spPr>
          <p:txBody>
            <a:bodyPr spcFirstLastPara="1" wrap="square" lIns="74406" tIns="37203" rIns="74406" bIns="37203" anchor="ctr" anchorCtr="1">
              <a:noAutofit/>
            </a:bodyPr>
            <a:lstStyle/>
            <a:p>
              <a:endParaRPr sz="1488"/>
            </a:p>
          </p:txBody>
        </p:sp>
      </p:grpSp>
      <p:grpSp>
        <p:nvGrpSpPr>
          <p:cNvPr id="749" name="Google Shape;749;p43"/>
          <p:cNvGrpSpPr/>
          <p:nvPr/>
        </p:nvGrpSpPr>
        <p:grpSpPr>
          <a:xfrm>
            <a:off x="845596" y="4845974"/>
            <a:ext cx="1337824" cy="937519"/>
            <a:chOff x="1006200" y="1967045"/>
            <a:chExt cx="1618200" cy="1134000"/>
          </a:xfrm>
        </p:grpSpPr>
        <p:sp>
          <p:nvSpPr>
            <p:cNvPr id="750" name="Google Shape;750;p43"/>
            <p:cNvSpPr/>
            <p:nvPr/>
          </p:nvSpPr>
          <p:spPr>
            <a:xfrm>
              <a:off x="1106640" y="2134085"/>
              <a:ext cx="1418040" cy="883800"/>
            </a:xfrm>
            <a:custGeom>
              <a:avLst/>
              <a:gdLst/>
              <a:ahLst/>
              <a:cxnLst/>
              <a:rect l="l" t="t" r="r" b="b"/>
              <a:pathLst>
                <a:path w="3939" h="2455" extrusionOk="0">
                  <a:moveTo>
                    <a:pt x="3939" y="2286"/>
                  </a:moveTo>
                  <a:lnTo>
                    <a:pt x="3939" y="2286"/>
                  </a:lnTo>
                  <a:cubicBezTo>
                    <a:pt x="3939" y="2378"/>
                    <a:pt x="3862" y="2455"/>
                    <a:pt x="3753" y="2455"/>
                  </a:cubicBezTo>
                  <a:cubicBezTo>
                    <a:pt x="169" y="2455"/>
                    <a:pt x="169" y="2455"/>
                    <a:pt x="169" y="2455"/>
                  </a:cubicBezTo>
                  <a:cubicBezTo>
                    <a:pt x="77" y="2455"/>
                    <a:pt x="0" y="2378"/>
                    <a:pt x="0" y="2286"/>
                  </a:cubicBezTo>
                  <a:cubicBezTo>
                    <a:pt x="0" y="186"/>
                    <a:pt x="0" y="186"/>
                    <a:pt x="0" y="186"/>
                  </a:cubicBezTo>
                  <a:cubicBezTo>
                    <a:pt x="0" y="77"/>
                    <a:pt x="77" y="0"/>
                    <a:pt x="169" y="0"/>
                  </a:cubicBezTo>
                  <a:cubicBezTo>
                    <a:pt x="3753" y="0"/>
                    <a:pt x="3753" y="0"/>
                    <a:pt x="3753" y="0"/>
                  </a:cubicBezTo>
                  <a:cubicBezTo>
                    <a:pt x="3862" y="0"/>
                    <a:pt x="3939" y="77"/>
                    <a:pt x="3939" y="186"/>
                  </a:cubicBezTo>
                  <a:lnTo>
                    <a:pt x="3939" y="2286"/>
                  </a:lnTo>
                  <a:close/>
                </a:path>
              </a:pathLst>
            </a:custGeom>
            <a:solidFill>
              <a:schemeClr val="dk1"/>
            </a:solidFill>
            <a:ln>
              <a:noFill/>
            </a:ln>
          </p:spPr>
          <p:txBody>
            <a:bodyPr spcFirstLastPara="1" wrap="square" lIns="74406" tIns="37203" rIns="74406" bIns="37203" anchor="ctr" anchorCtr="1">
              <a:noAutofit/>
            </a:bodyPr>
            <a:lstStyle/>
            <a:p>
              <a:endParaRPr sz="1488"/>
            </a:p>
          </p:txBody>
        </p:sp>
        <p:sp>
          <p:nvSpPr>
            <p:cNvPr id="751" name="Google Shape;751;p43"/>
            <p:cNvSpPr/>
            <p:nvPr/>
          </p:nvSpPr>
          <p:spPr>
            <a:xfrm>
              <a:off x="1156320" y="2189525"/>
              <a:ext cx="1312920" cy="767520"/>
            </a:xfrm>
            <a:custGeom>
              <a:avLst/>
              <a:gdLst/>
              <a:ahLst/>
              <a:cxnLst/>
              <a:rect l="l" t="t" r="r" b="b"/>
              <a:pathLst>
                <a:path w="3647" h="2132" extrusionOk="0">
                  <a:moveTo>
                    <a:pt x="3647" y="1947"/>
                  </a:moveTo>
                  <a:lnTo>
                    <a:pt x="3647" y="1947"/>
                  </a:lnTo>
                  <a:cubicBezTo>
                    <a:pt x="3647" y="2039"/>
                    <a:pt x="3569" y="2132"/>
                    <a:pt x="3476" y="2132"/>
                  </a:cubicBezTo>
                  <a:cubicBezTo>
                    <a:pt x="185" y="2132"/>
                    <a:pt x="185" y="2132"/>
                    <a:pt x="185" y="2132"/>
                  </a:cubicBezTo>
                  <a:cubicBezTo>
                    <a:pt x="93" y="2132"/>
                    <a:pt x="0" y="2039"/>
                    <a:pt x="0" y="1947"/>
                  </a:cubicBezTo>
                  <a:cubicBezTo>
                    <a:pt x="0" y="171"/>
                    <a:pt x="0" y="171"/>
                    <a:pt x="0" y="171"/>
                  </a:cubicBezTo>
                  <a:cubicBezTo>
                    <a:pt x="0" y="78"/>
                    <a:pt x="93" y="0"/>
                    <a:pt x="185" y="0"/>
                  </a:cubicBezTo>
                  <a:cubicBezTo>
                    <a:pt x="3476" y="0"/>
                    <a:pt x="3476" y="0"/>
                    <a:pt x="3476" y="0"/>
                  </a:cubicBezTo>
                  <a:cubicBezTo>
                    <a:pt x="3569" y="0"/>
                    <a:pt x="3647" y="78"/>
                    <a:pt x="3647" y="171"/>
                  </a:cubicBezTo>
                  <a:lnTo>
                    <a:pt x="3647" y="1947"/>
                  </a:lnTo>
                  <a:close/>
                </a:path>
              </a:pathLst>
            </a:custGeom>
            <a:solidFill>
              <a:srgbClr val="B4BCC5">
                <a:alpha val="22780"/>
              </a:srgbClr>
            </a:solidFill>
            <a:ln>
              <a:noFill/>
            </a:ln>
          </p:spPr>
          <p:txBody>
            <a:bodyPr spcFirstLastPara="1" wrap="square" lIns="74406" tIns="37203" rIns="74406" bIns="37203" anchor="ctr" anchorCtr="1">
              <a:noAutofit/>
            </a:bodyPr>
            <a:lstStyle/>
            <a:p>
              <a:endParaRPr sz="1488"/>
            </a:p>
          </p:txBody>
        </p:sp>
        <p:sp>
          <p:nvSpPr>
            <p:cNvPr id="752" name="Google Shape;752;p43"/>
            <p:cNvSpPr/>
            <p:nvPr/>
          </p:nvSpPr>
          <p:spPr>
            <a:xfrm>
              <a:off x="1334520" y="2084045"/>
              <a:ext cx="144720" cy="55440"/>
            </a:xfrm>
            <a:custGeom>
              <a:avLst/>
              <a:gdLst/>
              <a:ahLst/>
              <a:cxnLst/>
              <a:rect l="l" t="t" r="r" b="b"/>
              <a:pathLst>
                <a:path w="402" h="154" extrusionOk="0">
                  <a:moveTo>
                    <a:pt x="402" y="108"/>
                  </a:moveTo>
                  <a:lnTo>
                    <a:pt x="402" y="108"/>
                  </a:lnTo>
                  <a:cubicBezTo>
                    <a:pt x="402" y="124"/>
                    <a:pt x="386" y="154"/>
                    <a:pt x="354" y="154"/>
                  </a:cubicBezTo>
                  <a:cubicBezTo>
                    <a:pt x="46" y="154"/>
                    <a:pt x="46" y="154"/>
                    <a:pt x="46" y="154"/>
                  </a:cubicBezTo>
                  <a:cubicBezTo>
                    <a:pt x="15" y="154"/>
                    <a:pt x="0" y="124"/>
                    <a:pt x="0" y="108"/>
                  </a:cubicBezTo>
                  <a:cubicBezTo>
                    <a:pt x="0" y="46"/>
                    <a:pt x="0" y="46"/>
                    <a:pt x="0" y="46"/>
                  </a:cubicBezTo>
                  <a:cubicBezTo>
                    <a:pt x="0" y="31"/>
                    <a:pt x="15" y="0"/>
                    <a:pt x="46" y="0"/>
                  </a:cubicBezTo>
                  <a:cubicBezTo>
                    <a:pt x="354" y="0"/>
                    <a:pt x="354" y="0"/>
                    <a:pt x="354" y="0"/>
                  </a:cubicBezTo>
                  <a:cubicBezTo>
                    <a:pt x="386" y="0"/>
                    <a:pt x="402" y="31"/>
                    <a:pt x="402" y="46"/>
                  </a:cubicBezTo>
                  <a:lnTo>
                    <a:pt x="402" y="108"/>
                  </a:lnTo>
                  <a:close/>
                </a:path>
              </a:pathLst>
            </a:custGeom>
            <a:solidFill>
              <a:schemeClr val="accent6"/>
            </a:solidFill>
            <a:ln>
              <a:noFill/>
            </a:ln>
          </p:spPr>
          <p:txBody>
            <a:bodyPr spcFirstLastPara="1" wrap="square" lIns="74406" tIns="8619" rIns="74406" bIns="8619" anchor="ctr" anchorCtr="1">
              <a:noAutofit/>
            </a:bodyPr>
            <a:lstStyle/>
            <a:p>
              <a:endParaRPr sz="1488"/>
            </a:p>
          </p:txBody>
        </p:sp>
        <p:sp>
          <p:nvSpPr>
            <p:cNvPr id="753" name="Google Shape;753;p43"/>
            <p:cNvSpPr/>
            <p:nvPr/>
          </p:nvSpPr>
          <p:spPr>
            <a:xfrm>
              <a:off x="1334520" y="2028605"/>
              <a:ext cx="144720" cy="50040"/>
            </a:xfrm>
            <a:custGeom>
              <a:avLst/>
              <a:gdLst/>
              <a:ahLst/>
              <a:cxnLst/>
              <a:rect l="l" t="t" r="r" b="b"/>
              <a:pathLst>
                <a:path w="402" h="139" extrusionOk="0">
                  <a:moveTo>
                    <a:pt x="402" y="93"/>
                  </a:moveTo>
                  <a:lnTo>
                    <a:pt x="402" y="93"/>
                  </a:lnTo>
                  <a:cubicBezTo>
                    <a:pt x="402" y="123"/>
                    <a:pt x="386" y="139"/>
                    <a:pt x="354" y="139"/>
                  </a:cubicBezTo>
                  <a:cubicBezTo>
                    <a:pt x="46" y="139"/>
                    <a:pt x="46" y="139"/>
                    <a:pt x="46" y="139"/>
                  </a:cubicBezTo>
                  <a:cubicBezTo>
                    <a:pt x="15" y="139"/>
                    <a:pt x="0" y="123"/>
                    <a:pt x="0" y="93"/>
                  </a:cubicBezTo>
                  <a:cubicBezTo>
                    <a:pt x="0" y="31"/>
                    <a:pt x="0" y="31"/>
                    <a:pt x="0" y="31"/>
                  </a:cubicBezTo>
                  <a:cubicBezTo>
                    <a:pt x="0" y="14"/>
                    <a:pt x="15" y="0"/>
                    <a:pt x="46" y="0"/>
                  </a:cubicBezTo>
                  <a:cubicBezTo>
                    <a:pt x="354" y="0"/>
                    <a:pt x="354" y="0"/>
                    <a:pt x="354" y="0"/>
                  </a:cubicBezTo>
                  <a:cubicBezTo>
                    <a:pt x="386" y="0"/>
                    <a:pt x="402" y="14"/>
                    <a:pt x="402" y="31"/>
                  </a:cubicBezTo>
                  <a:lnTo>
                    <a:pt x="402" y="93"/>
                  </a:lnTo>
                  <a:close/>
                </a:path>
              </a:pathLst>
            </a:custGeom>
            <a:solidFill>
              <a:schemeClr val="accent6"/>
            </a:solidFill>
            <a:ln>
              <a:noFill/>
            </a:ln>
          </p:spPr>
          <p:txBody>
            <a:bodyPr spcFirstLastPara="1" wrap="square" lIns="74406" tIns="4154" rIns="74406" bIns="4154" anchor="ctr" anchorCtr="1">
              <a:noAutofit/>
            </a:bodyPr>
            <a:lstStyle/>
            <a:p>
              <a:endParaRPr sz="1488"/>
            </a:p>
          </p:txBody>
        </p:sp>
        <p:sp>
          <p:nvSpPr>
            <p:cNvPr id="754" name="Google Shape;754;p43"/>
            <p:cNvSpPr/>
            <p:nvPr/>
          </p:nvSpPr>
          <p:spPr>
            <a:xfrm>
              <a:off x="1334520" y="1967045"/>
              <a:ext cx="144720" cy="50040"/>
            </a:xfrm>
            <a:custGeom>
              <a:avLst/>
              <a:gdLst/>
              <a:ahLst/>
              <a:cxnLst/>
              <a:rect l="l" t="t" r="r" b="b"/>
              <a:pathLst>
                <a:path w="402" h="139" extrusionOk="0">
                  <a:moveTo>
                    <a:pt x="402" y="108"/>
                  </a:moveTo>
                  <a:lnTo>
                    <a:pt x="402" y="108"/>
                  </a:lnTo>
                  <a:cubicBezTo>
                    <a:pt x="402" y="125"/>
                    <a:pt x="386" y="139"/>
                    <a:pt x="354" y="139"/>
                  </a:cubicBezTo>
                  <a:cubicBezTo>
                    <a:pt x="46" y="139"/>
                    <a:pt x="46" y="139"/>
                    <a:pt x="46" y="139"/>
                  </a:cubicBezTo>
                  <a:cubicBezTo>
                    <a:pt x="15" y="139"/>
                    <a:pt x="0" y="125"/>
                    <a:pt x="0" y="108"/>
                  </a:cubicBezTo>
                  <a:cubicBezTo>
                    <a:pt x="0" y="31"/>
                    <a:pt x="0" y="31"/>
                    <a:pt x="0" y="31"/>
                  </a:cubicBezTo>
                  <a:cubicBezTo>
                    <a:pt x="0" y="16"/>
                    <a:pt x="15" y="0"/>
                    <a:pt x="46" y="0"/>
                  </a:cubicBezTo>
                  <a:cubicBezTo>
                    <a:pt x="354" y="0"/>
                    <a:pt x="354" y="0"/>
                    <a:pt x="354" y="0"/>
                  </a:cubicBezTo>
                  <a:cubicBezTo>
                    <a:pt x="386" y="0"/>
                    <a:pt x="402" y="16"/>
                    <a:pt x="402" y="31"/>
                  </a:cubicBezTo>
                  <a:lnTo>
                    <a:pt x="402" y="108"/>
                  </a:lnTo>
                  <a:close/>
                </a:path>
              </a:pathLst>
            </a:custGeom>
            <a:solidFill>
              <a:schemeClr val="accent6"/>
            </a:solidFill>
            <a:ln>
              <a:noFill/>
            </a:ln>
          </p:spPr>
          <p:txBody>
            <a:bodyPr spcFirstLastPara="1" wrap="square" lIns="74406" tIns="4154" rIns="74406" bIns="4154" anchor="ctr" anchorCtr="1">
              <a:noAutofit/>
            </a:bodyPr>
            <a:lstStyle/>
            <a:p>
              <a:endParaRPr sz="1488"/>
            </a:p>
          </p:txBody>
        </p:sp>
        <p:sp>
          <p:nvSpPr>
            <p:cNvPr id="755" name="Google Shape;755;p43"/>
            <p:cNvSpPr/>
            <p:nvPr/>
          </p:nvSpPr>
          <p:spPr>
            <a:xfrm>
              <a:off x="2152080" y="2084045"/>
              <a:ext cx="144720" cy="55440"/>
            </a:xfrm>
            <a:custGeom>
              <a:avLst/>
              <a:gdLst/>
              <a:ahLst/>
              <a:cxnLst/>
              <a:rect l="l" t="t" r="r" b="b"/>
              <a:pathLst>
                <a:path w="402" h="154" extrusionOk="0">
                  <a:moveTo>
                    <a:pt x="402" y="108"/>
                  </a:moveTo>
                  <a:lnTo>
                    <a:pt x="402" y="108"/>
                  </a:lnTo>
                  <a:cubicBezTo>
                    <a:pt x="402" y="124"/>
                    <a:pt x="385" y="154"/>
                    <a:pt x="356" y="154"/>
                  </a:cubicBezTo>
                  <a:cubicBezTo>
                    <a:pt x="31" y="154"/>
                    <a:pt x="31" y="154"/>
                    <a:pt x="31" y="154"/>
                  </a:cubicBezTo>
                  <a:cubicBezTo>
                    <a:pt x="14" y="154"/>
                    <a:pt x="0" y="124"/>
                    <a:pt x="0" y="108"/>
                  </a:cubicBezTo>
                  <a:cubicBezTo>
                    <a:pt x="0" y="46"/>
                    <a:pt x="0" y="46"/>
                    <a:pt x="0" y="46"/>
                  </a:cubicBezTo>
                  <a:cubicBezTo>
                    <a:pt x="0" y="31"/>
                    <a:pt x="14" y="0"/>
                    <a:pt x="31" y="0"/>
                  </a:cubicBezTo>
                  <a:cubicBezTo>
                    <a:pt x="356" y="0"/>
                    <a:pt x="356" y="0"/>
                    <a:pt x="356" y="0"/>
                  </a:cubicBezTo>
                  <a:cubicBezTo>
                    <a:pt x="385" y="0"/>
                    <a:pt x="402" y="31"/>
                    <a:pt x="402" y="46"/>
                  </a:cubicBezTo>
                  <a:lnTo>
                    <a:pt x="402" y="108"/>
                  </a:lnTo>
                  <a:close/>
                </a:path>
              </a:pathLst>
            </a:custGeom>
            <a:solidFill>
              <a:schemeClr val="accent6"/>
            </a:solidFill>
            <a:ln>
              <a:noFill/>
            </a:ln>
          </p:spPr>
          <p:txBody>
            <a:bodyPr spcFirstLastPara="1" wrap="square" lIns="74406" tIns="8619" rIns="74406" bIns="8619" anchor="ctr" anchorCtr="1">
              <a:noAutofit/>
            </a:bodyPr>
            <a:lstStyle/>
            <a:p>
              <a:endParaRPr sz="1488"/>
            </a:p>
          </p:txBody>
        </p:sp>
        <p:sp>
          <p:nvSpPr>
            <p:cNvPr id="756" name="Google Shape;756;p43"/>
            <p:cNvSpPr/>
            <p:nvPr/>
          </p:nvSpPr>
          <p:spPr>
            <a:xfrm>
              <a:off x="2152080" y="2028605"/>
              <a:ext cx="144720" cy="50040"/>
            </a:xfrm>
            <a:custGeom>
              <a:avLst/>
              <a:gdLst/>
              <a:ahLst/>
              <a:cxnLst/>
              <a:rect l="l" t="t" r="r" b="b"/>
              <a:pathLst>
                <a:path w="402" h="139" extrusionOk="0">
                  <a:moveTo>
                    <a:pt x="402" y="93"/>
                  </a:moveTo>
                  <a:lnTo>
                    <a:pt x="402" y="93"/>
                  </a:lnTo>
                  <a:cubicBezTo>
                    <a:pt x="402" y="123"/>
                    <a:pt x="385" y="139"/>
                    <a:pt x="356" y="139"/>
                  </a:cubicBezTo>
                  <a:cubicBezTo>
                    <a:pt x="31" y="139"/>
                    <a:pt x="31" y="139"/>
                    <a:pt x="31" y="139"/>
                  </a:cubicBezTo>
                  <a:cubicBezTo>
                    <a:pt x="14" y="139"/>
                    <a:pt x="0" y="123"/>
                    <a:pt x="0" y="93"/>
                  </a:cubicBezTo>
                  <a:cubicBezTo>
                    <a:pt x="0" y="31"/>
                    <a:pt x="0" y="31"/>
                    <a:pt x="0" y="31"/>
                  </a:cubicBezTo>
                  <a:cubicBezTo>
                    <a:pt x="0" y="14"/>
                    <a:pt x="14" y="0"/>
                    <a:pt x="31" y="0"/>
                  </a:cubicBezTo>
                  <a:cubicBezTo>
                    <a:pt x="356" y="0"/>
                    <a:pt x="356" y="0"/>
                    <a:pt x="356" y="0"/>
                  </a:cubicBezTo>
                  <a:cubicBezTo>
                    <a:pt x="385" y="0"/>
                    <a:pt x="402" y="14"/>
                    <a:pt x="402" y="31"/>
                  </a:cubicBezTo>
                  <a:lnTo>
                    <a:pt x="402" y="93"/>
                  </a:lnTo>
                  <a:close/>
                </a:path>
              </a:pathLst>
            </a:custGeom>
            <a:solidFill>
              <a:schemeClr val="accent6"/>
            </a:solidFill>
            <a:ln>
              <a:noFill/>
            </a:ln>
          </p:spPr>
          <p:txBody>
            <a:bodyPr spcFirstLastPara="1" wrap="square" lIns="74406" tIns="4154" rIns="74406" bIns="4154" anchor="ctr" anchorCtr="1">
              <a:noAutofit/>
            </a:bodyPr>
            <a:lstStyle/>
            <a:p>
              <a:endParaRPr sz="1488"/>
            </a:p>
          </p:txBody>
        </p:sp>
        <p:sp>
          <p:nvSpPr>
            <p:cNvPr id="757" name="Google Shape;757;p43"/>
            <p:cNvSpPr/>
            <p:nvPr/>
          </p:nvSpPr>
          <p:spPr>
            <a:xfrm>
              <a:off x="2152080" y="1967045"/>
              <a:ext cx="144720" cy="50040"/>
            </a:xfrm>
            <a:custGeom>
              <a:avLst/>
              <a:gdLst/>
              <a:ahLst/>
              <a:cxnLst/>
              <a:rect l="l" t="t" r="r" b="b"/>
              <a:pathLst>
                <a:path w="402" h="139" extrusionOk="0">
                  <a:moveTo>
                    <a:pt x="402" y="108"/>
                  </a:moveTo>
                  <a:lnTo>
                    <a:pt x="402" y="108"/>
                  </a:lnTo>
                  <a:cubicBezTo>
                    <a:pt x="402" y="125"/>
                    <a:pt x="385" y="139"/>
                    <a:pt x="356" y="139"/>
                  </a:cubicBezTo>
                  <a:cubicBezTo>
                    <a:pt x="31" y="139"/>
                    <a:pt x="31" y="139"/>
                    <a:pt x="31" y="139"/>
                  </a:cubicBezTo>
                  <a:cubicBezTo>
                    <a:pt x="14" y="139"/>
                    <a:pt x="0" y="125"/>
                    <a:pt x="0" y="108"/>
                  </a:cubicBezTo>
                  <a:cubicBezTo>
                    <a:pt x="0" y="31"/>
                    <a:pt x="0" y="31"/>
                    <a:pt x="0" y="31"/>
                  </a:cubicBezTo>
                  <a:cubicBezTo>
                    <a:pt x="0" y="16"/>
                    <a:pt x="14" y="0"/>
                    <a:pt x="31" y="0"/>
                  </a:cubicBezTo>
                  <a:cubicBezTo>
                    <a:pt x="356" y="0"/>
                    <a:pt x="356" y="0"/>
                    <a:pt x="356" y="0"/>
                  </a:cubicBezTo>
                  <a:cubicBezTo>
                    <a:pt x="385" y="0"/>
                    <a:pt x="402" y="16"/>
                    <a:pt x="402" y="31"/>
                  </a:cubicBezTo>
                  <a:lnTo>
                    <a:pt x="402" y="108"/>
                  </a:lnTo>
                  <a:close/>
                </a:path>
              </a:pathLst>
            </a:custGeom>
            <a:solidFill>
              <a:schemeClr val="accent6"/>
            </a:solidFill>
            <a:ln>
              <a:noFill/>
            </a:ln>
          </p:spPr>
          <p:txBody>
            <a:bodyPr spcFirstLastPara="1" wrap="square" lIns="74406" tIns="4154" rIns="74406" bIns="4154" anchor="ctr" anchorCtr="1">
              <a:noAutofit/>
            </a:bodyPr>
            <a:lstStyle/>
            <a:p>
              <a:endParaRPr sz="1488"/>
            </a:p>
          </p:txBody>
        </p:sp>
        <p:sp>
          <p:nvSpPr>
            <p:cNvPr id="758" name="Google Shape;758;p43"/>
            <p:cNvSpPr/>
            <p:nvPr/>
          </p:nvSpPr>
          <p:spPr>
            <a:xfrm>
              <a:off x="1006200" y="2923565"/>
              <a:ext cx="1618200" cy="177480"/>
            </a:xfrm>
            <a:custGeom>
              <a:avLst/>
              <a:gdLst/>
              <a:ahLst/>
              <a:cxnLst/>
              <a:rect l="l" t="t" r="r" b="b"/>
              <a:pathLst>
                <a:path w="4495" h="493" extrusionOk="0">
                  <a:moveTo>
                    <a:pt x="4495" y="416"/>
                  </a:moveTo>
                  <a:lnTo>
                    <a:pt x="4495" y="416"/>
                  </a:lnTo>
                  <a:cubicBezTo>
                    <a:pt x="4495" y="464"/>
                    <a:pt x="4466" y="493"/>
                    <a:pt x="4418" y="493"/>
                  </a:cubicBezTo>
                  <a:cubicBezTo>
                    <a:pt x="77" y="493"/>
                    <a:pt x="77" y="493"/>
                    <a:pt x="77" y="493"/>
                  </a:cubicBezTo>
                  <a:cubicBezTo>
                    <a:pt x="31" y="493"/>
                    <a:pt x="0" y="464"/>
                    <a:pt x="0" y="416"/>
                  </a:cubicBezTo>
                  <a:cubicBezTo>
                    <a:pt x="0" y="77"/>
                    <a:pt x="0" y="77"/>
                    <a:pt x="0" y="77"/>
                  </a:cubicBezTo>
                  <a:cubicBezTo>
                    <a:pt x="0" y="45"/>
                    <a:pt x="31" y="0"/>
                    <a:pt x="77" y="0"/>
                  </a:cubicBezTo>
                  <a:cubicBezTo>
                    <a:pt x="4418" y="0"/>
                    <a:pt x="4418" y="0"/>
                    <a:pt x="4418" y="0"/>
                  </a:cubicBezTo>
                  <a:cubicBezTo>
                    <a:pt x="4466" y="0"/>
                    <a:pt x="4495" y="45"/>
                    <a:pt x="4495" y="77"/>
                  </a:cubicBezTo>
                  <a:lnTo>
                    <a:pt x="4495" y="416"/>
                  </a:lnTo>
                  <a:close/>
                </a:path>
              </a:pathLst>
            </a:custGeom>
            <a:solidFill>
              <a:schemeClr val="accent5"/>
            </a:solidFill>
            <a:ln>
              <a:noFill/>
            </a:ln>
          </p:spPr>
          <p:txBody>
            <a:bodyPr spcFirstLastPara="1" wrap="square" lIns="74406" tIns="37203" rIns="74406" bIns="37203" anchor="ctr" anchorCtr="1">
              <a:noAutofit/>
            </a:bodyPr>
            <a:lstStyle/>
            <a:p>
              <a:endParaRPr sz="1488"/>
            </a:p>
          </p:txBody>
        </p:sp>
        <p:sp>
          <p:nvSpPr>
            <p:cNvPr id="759" name="Google Shape;759;p43"/>
            <p:cNvSpPr/>
            <p:nvPr/>
          </p:nvSpPr>
          <p:spPr>
            <a:xfrm>
              <a:off x="1289520" y="2361605"/>
              <a:ext cx="217440" cy="55800"/>
            </a:xfrm>
            <a:custGeom>
              <a:avLst/>
              <a:gdLst/>
              <a:ahLst/>
              <a:cxnLst/>
              <a:rect l="l" t="t" r="r" b="b"/>
              <a:pathLst>
                <a:path w="604" h="155" extrusionOk="0">
                  <a:moveTo>
                    <a:pt x="0" y="155"/>
                  </a:moveTo>
                  <a:lnTo>
                    <a:pt x="0" y="0"/>
                  </a:lnTo>
                  <a:lnTo>
                    <a:pt x="604" y="0"/>
                  </a:lnTo>
                  <a:lnTo>
                    <a:pt x="604" y="155"/>
                  </a:lnTo>
                  <a:lnTo>
                    <a:pt x="0" y="155"/>
                  </a:lnTo>
                  <a:close/>
                </a:path>
              </a:pathLst>
            </a:custGeom>
            <a:solidFill>
              <a:schemeClr val="accent6"/>
            </a:solidFill>
            <a:ln>
              <a:noFill/>
            </a:ln>
          </p:spPr>
          <p:txBody>
            <a:bodyPr spcFirstLastPara="1" wrap="square" lIns="74406" tIns="8929" rIns="74406" bIns="8929" anchor="ctr" anchorCtr="1">
              <a:noAutofit/>
            </a:bodyPr>
            <a:lstStyle/>
            <a:p>
              <a:endParaRPr sz="1488"/>
            </a:p>
          </p:txBody>
        </p:sp>
        <p:sp>
          <p:nvSpPr>
            <p:cNvPr id="760" name="Google Shape;760;p43"/>
            <p:cNvSpPr/>
            <p:nvPr/>
          </p:nvSpPr>
          <p:spPr>
            <a:xfrm>
              <a:off x="2129400" y="2284205"/>
              <a:ext cx="211680" cy="216360"/>
            </a:xfrm>
            <a:custGeom>
              <a:avLst/>
              <a:gdLst/>
              <a:ahLst/>
              <a:cxnLst/>
              <a:rect l="l" t="t" r="r" b="b"/>
              <a:pathLst>
                <a:path w="588" h="601" extrusionOk="0">
                  <a:moveTo>
                    <a:pt x="233" y="355"/>
                  </a:moveTo>
                  <a:lnTo>
                    <a:pt x="0" y="355"/>
                  </a:lnTo>
                  <a:lnTo>
                    <a:pt x="0" y="247"/>
                  </a:lnTo>
                  <a:lnTo>
                    <a:pt x="233" y="247"/>
                  </a:lnTo>
                  <a:lnTo>
                    <a:pt x="233" y="0"/>
                  </a:lnTo>
                  <a:lnTo>
                    <a:pt x="356" y="0"/>
                  </a:lnTo>
                  <a:lnTo>
                    <a:pt x="356" y="247"/>
                  </a:lnTo>
                  <a:lnTo>
                    <a:pt x="588" y="247"/>
                  </a:lnTo>
                  <a:lnTo>
                    <a:pt x="588" y="355"/>
                  </a:lnTo>
                  <a:lnTo>
                    <a:pt x="356" y="355"/>
                  </a:lnTo>
                  <a:lnTo>
                    <a:pt x="356" y="601"/>
                  </a:lnTo>
                  <a:lnTo>
                    <a:pt x="233" y="601"/>
                  </a:lnTo>
                  <a:lnTo>
                    <a:pt x="233" y="355"/>
                  </a:lnTo>
                  <a:close/>
                </a:path>
              </a:pathLst>
            </a:custGeom>
            <a:solidFill>
              <a:schemeClr val="accent6"/>
            </a:solidFill>
            <a:ln>
              <a:noFill/>
            </a:ln>
          </p:spPr>
          <p:txBody>
            <a:bodyPr spcFirstLastPara="1" wrap="square" lIns="74406" tIns="37203" rIns="74406" bIns="37203" anchor="ctr" anchorCtr="1">
              <a:noAutofit/>
            </a:bodyPr>
            <a:lstStyle/>
            <a:p>
              <a:endParaRPr sz="1488"/>
            </a:p>
          </p:txBody>
        </p:sp>
        <p:sp>
          <p:nvSpPr>
            <p:cNvPr id="761" name="Google Shape;761;p43"/>
            <p:cNvSpPr/>
            <p:nvPr/>
          </p:nvSpPr>
          <p:spPr>
            <a:xfrm>
              <a:off x="1662480" y="2284205"/>
              <a:ext cx="305640" cy="539280"/>
            </a:xfrm>
            <a:custGeom>
              <a:avLst/>
              <a:gdLst/>
              <a:ahLst/>
              <a:cxnLst/>
              <a:rect l="l" t="t" r="r" b="b"/>
              <a:pathLst>
                <a:path w="849" h="1498" extrusionOk="0">
                  <a:moveTo>
                    <a:pt x="201" y="1498"/>
                  </a:moveTo>
                  <a:lnTo>
                    <a:pt x="201" y="1498"/>
                  </a:lnTo>
                  <a:lnTo>
                    <a:pt x="556" y="849"/>
                  </a:lnTo>
                  <a:lnTo>
                    <a:pt x="0" y="849"/>
                  </a:lnTo>
                  <a:lnTo>
                    <a:pt x="495" y="0"/>
                  </a:lnTo>
                  <a:lnTo>
                    <a:pt x="711" y="0"/>
                  </a:lnTo>
                  <a:lnTo>
                    <a:pt x="278" y="757"/>
                  </a:lnTo>
                  <a:lnTo>
                    <a:pt x="849" y="757"/>
                  </a:lnTo>
                  <a:lnTo>
                    <a:pt x="201" y="1498"/>
                  </a:lnTo>
                  <a:close/>
                </a:path>
              </a:pathLst>
            </a:custGeom>
            <a:solidFill>
              <a:schemeClr val="accent6"/>
            </a:solidFill>
            <a:ln>
              <a:noFill/>
            </a:ln>
          </p:spPr>
          <p:txBody>
            <a:bodyPr spcFirstLastPara="1" wrap="square" lIns="74406" tIns="37203" rIns="74406" bIns="37203" anchor="ctr" anchorCtr="1">
              <a:noAutofit/>
            </a:bodyPr>
            <a:lstStyle/>
            <a:p>
              <a:endParaRPr sz="1488"/>
            </a:p>
          </p:txBody>
        </p:sp>
      </p:grpSp>
      <p:sp>
        <p:nvSpPr>
          <p:cNvPr id="762" name="Google Shape;762;p43"/>
          <p:cNvSpPr/>
          <p:nvPr/>
        </p:nvSpPr>
        <p:spPr>
          <a:xfrm>
            <a:off x="2994648" y="5358764"/>
            <a:ext cx="375003" cy="377980"/>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chemeClr val="accent5">
              <a:lumMod val="50000"/>
            </a:schemeClr>
          </a:solidFill>
          <a:ln>
            <a:noFill/>
          </a:ln>
        </p:spPr>
        <p:txBody>
          <a:bodyPr spcFirstLastPara="1" wrap="square" lIns="75584" tIns="75584" rIns="75584" bIns="75584" anchor="ctr" anchorCtr="0">
            <a:noAutofit/>
          </a:bodyPr>
          <a:lstStyle/>
          <a:p>
            <a:endParaRPr sz="1157"/>
          </a:p>
        </p:txBody>
      </p:sp>
      <p:grpSp>
        <p:nvGrpSpPr>
          <p:cNvPr id="763" name="Google Shape;763;p43"/>
          <p:cNvGrpSpPr/>
          <p:nvPr/>
        </p:nvGrpSpPr>
        <p:grpSpPr>
          <a:xfrm>
            <a:off x="3656593" y="5358981"/>
            <a:ext cx="375445" cy="377546"/>
            <a:chOff x="3303268" y="3817349"/>
            <a:chExt cx="346056" cy="345674"/>
          </a:xfrm>
          <a:solidFill>
            <a:schemeClr val="accent5">
              <a:lumMod val="50000"/>
            </a:schemeClr>
          </a:solidFill>
        </p:grpSpPr>
        <p:sp>
          <p:nvSpPr>
            <p:cNvPr id="764" name="Google Shape;764;p43"/>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grpFill/>
            <a:ln>
              <a:noFill/>
            </a:ln>
          </p:spPr>
          <p:txBody>
            <a:bodyPr spcFirstLastPara="1" wrap="square" lIns="75584" tIns="75584" rIns="75584" bIns="75584" anchor="ctr" anchorCtr="0">
              <a:noAutofit/>
            </a:bodyPr>
            <a:lstStyle/>
            <a:p>
              <a:endParaRPr sz="1157"/>
            </a:p>
          </p:txBody>
        </p:sp>
        <p:sp>
          <p:nvSpPr>
            <p:cNvPr id="765" name="Google Shape;765;p43"/>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grpFill/>
            <a:ln>
              <a:noFill/>
            </a:ln>
          </p:spPr>
          <p:txBody>
            <a:bodyPr spcFirstLastPara="1" wrap="square" lIns="75584" tIns="75584" rIns="75584" bIns="75584" anchor="ctr" anchorCtr="0">
              <a:noAutofit/>
            </a:bodyPr>
            <a:lstStyle/>
            <a:p>
              <a:endParaRPr sz="1157"/>
            </a:p>
          </p:txBody>
        </p:sp>
        <p:sp>
          <p:nvSpPr>
            <p:cNvPr id="766" name="Google Shape;766;p43"/>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grpFill/>
            <a:ln>
              <a:noFill/>
            </a:ln>
          </p:spPr>
          <p:txBody>
            <a:bodyPr spcFirstLastPara="1" wrap="square" lIns="75584" tIns="75584" rIns="75584" bIns="75584" anchor="ctr" anchorCtr="0">
              <a:noAutofit/>
            </a:bodyPr>
            <a:lstStyle/>
            <a:p>
              <a:endParaRPr sz="1157"/>
            </a:p>
          </p:txBody>
        </p:sp>
        <p:sp>
          <p:nvSpPr>
            <p:cNvPr id="767" name="Google Shape;767;p43"/>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grpFill/>
            <a:ln>
              <a:noFill/>
            </a:ln>
          </p:spPr>
          <p:txBody>
            <a:bodyPr spcFirstLastPara="1" wrap="square" lIns="75584" tIns="75584" rIns="75584" bIns="75584" anchor="ctr" anchorCtr="0">
              <a:noAutofit/>
            </a:bodyPr>
            <a:lstStyle/>
            <a:p>
              <a:endParaRPr sz="1157"/>
            </a:p>
          </p:txBody>
        </p:sp>
      </p:grpSp>
      <p:grpSp>
        <p:nvGrpSpPr>
          <p:cNvPr id="768" name="Google Shape;768;p43"/>
          <p:cNvGrpSpPr/>
          <p:nvPr/>
        </p:nvGrpSpPr>
        <p:grpSpPr>
          <a:xfrm>
            <a:off x="4318979" y="5358981"/>
            <a:ext cx="375445" cy="377546"/>
            <a:chOff x="3752358" y="3817349"/>
            <a:chExt cx="346056" cy="345674"/>
          </a:xfrm>
          <a:solidFill>
            <a:schemeClr val="accent5">
              <a:lumMod val="50000"/>
            </a:schemeClr>
          </a:solidFill>
        </p:grpSpPr>
        <p:sp>
          <p:nvSpPr>
            <p:cNvPr id="769" name="Google Shape;769;p43"/>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grpFill/>
            <a:ln>
              <a:noFill/>
            </a:ln>
          </p:spPr>
          <p:txBody>
            <a:bodyPr spcFirstLastPara="1" wrap="square" lIns="75584" tIns="75584" rIns="75584" bIns="75584" anchor="ctr" anchorCtr="0">
              <a:noAutofit/>
            </a:bodyPr>
            <a:lstStyle/>
            <a:p>
              <a:endParaRPr sz="1157"/>
            </a:p>
          </p:txBody>
        </p:sp>
        <p:sp>
          <p:nvSpPr>
            <p:cNvPr id="770" name="Google Shape;770;p43"/>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grpFill/>
            <a:ln>
              <a:noFill/>
            </a:ln>
          </p:spPr>
          <p:txBody>
            <a:bodyPr spcFirstLastPara="1" wrap="square" lIns="75584" tIns="75584" rIns="75584" bIns="75584" anchor="ctr" anchorCtr="0">
              <a:noAutofit/>
            </a:bodyPr>
            <a:lstStyle/>
            <a:p>
              <a:endParaRPr sz="1157"/>
            </a:p>
          </p:txBody>
        </p:sp>
        <p:sp>
          <p:nvSpPr>
            <p:cNvPr id="771" name="Google Shape;771;p43"/>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grpFill/>
            <a:ln>
              <a:noFill/>
            </a:ln>
          </p:spPr>
          <p:txBody>
            <a:bodyPr spcFirstLastPara="1" wrap="square" lIns="75584" tIns="75584" rIns="75584" bIns="75584" anchor="ctr" anchorCtr="0">
              <a:noAutofit/>
            </a:bodyPr>
            <a:lstStyle/>
            <a:p>
              <a:endParaRPr sz="1157"/>
            </a:p>
          </p:txBody>
        </p:sp>
        <p:sp>
          <p:nvSpPr>
            <p:cNvPr id="772" name="Google Shape;772;p43"/>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grpFill/>
            <a:ln>
              <a:noFill/>
            </a:ln>
          </p:spPr>
          <p:txBody>
            <a:bodyPr spcFirstLastPara="1" wrap="square" lIns="75584" tIns="75584" rIns="75584" bIns="75584" anchor="ctr" anchorCtr="0">
              <a:noAutofit/>
            </a:bodyPr>
            <a:lstStyle/>
            <a:p>
              <a:endParaRPr sz="1157"/>
            </a:p>
          </p:txBody>
        </p:sp>
      </p:grpSp>
      <p:grpSp>
        <p:nvGrpSpPr>
          <p:cNvPr id="773" name="Google Shape;773;p43"/>
          <p:cNvGrpSpPr/>
          <p:nvPr/>
        </p:nvGrpSpPr>
        <p:grpSpPr>
          <a:xfrm>
            <a:off x="4981366" y="5358767"/>
            <a:ext cx="377991" cy="377974"/>
            <a:chOff x="2238181" y="4120624"/>
            <a:chExt cx="346056" cy="345674"/>
          </a:xfrm>
          <a:solidFill>
            <a:schemeClr val="accent5">
              <a:lumMod val="50000"/>
            </a:schemeClr>
          </a:solidFill>
        </p:grpSpPr>
        <p:grpSp>
          <p:nvGrpSpPr>
            <p:cNvPr id="774" name="Google Shape;774;p43"/>
            <p:cNvGrpSpPr/>
            <p:nvPr/>
          </p:nvGrpSpPr>
          <p:grpSpPr>
            <a:xfrm>
              <a:off x="2309155" y="4177413"/>
              <a:ext cx="203862" cy="231903"/>
              <a:chOff x="1512725" y="258500"/>
              <a:chExt cx="4570900" cy="5199625"/>
            </a:xfrm>
            <a:grpFill/>
          </p:grpSpPr>
          <p:sp>
            <p:nvSpPr>
              <p:cNvPr id="775" name="Google Shape;775;p43"/>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grpFill/>
              <a:ln>
                <a:noFill/>
              </a:ln>
            </p:spPr>
            <p:txBody>
              <a:bodyPr spcFirstLastPara="1" wrap="square" lIns="75584" tIns="75584" rIns="75584" bIns="75584" anchor="ctr" anchorCtr="0">
                <a:noAutofit/>
              </a:bodyPr>
              <a:lstStyle/>
              <a:p>
                <a:endParaRPr sz="1157"/>
              </a:p>
            </p:txBody>
          </p:sp>
          <p:sp>
            <p:nvSpPr>
              <p:cNvPr id="776" name="Google Shape;776;p43"/>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grpFill/>
              <a:ln>
                <a:noFill/>
              </a:ln>
            </p:spPr>
            <p:txBody>
              <a:bodyPr spcFirstLastPara="1" wrap="square" lIns="75584" tIns="75584" rIns="75584" bIns="75584" anchor="ctr" anchorCtr="0">
                <a:noAutofit/>
              </a:bodyPr>
              <a:lstStyle/>
              <a:p>
                <a:endParaRPr sz="1157"/>
              </a:p>
            </p:txBody>
          </p:sp>
        </p:grpSp>
        <p:sp>
          <p:nvSpPr>
            <p:cNvPr id="777" name="Google Shape;777;p43"/>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grpFill/>
            <a:ln>
              <a:noFill/>
            </a:ln>
          </p:spPr>
          <p:txBody>
            <a:bodyPr spcFirstLastPara="1" wrap="square" lIns="75584" tIns="75584" rIns="75584" bIns="75584" anchor="ctr" anchorCtr="0">
              <a:noAutofit/>
            </a:bodyPr>
            <a:lstStyle/>
            <a:p>
              <a:endParaRPr sz="1157"/>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de-DE" smtClean="0"/>
              <a:t>9</a:t>
            </a:fld>
            <a:endParaRPr lang="de-DE"/>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719442" y="1277938"/>
            <a:ext cx="4853051" cy="519708"/>
          </a:xfrm>
        </p:spPr>
        <p:txBody>
          <a:bodyPr/>
          <a:lstStyle/>
          <a:p>
            <a:r>
              <a:rPr lang="de-DE"/>
              <a:t>Basics</a:t>
            </a:r>
          </a:p>
        </p:txBody>
      </p:sp>
      <p:sp>
        <p:nvSpPr>
          <p:cNvPr id="10" name="Titel 1">
            <a:extLst>
              <a:ext uri="{FF2B5EF4-FFF2-40B4-BE49-F238E27FC236}">
                <a16:creationId xmlns:a16="http://schemas.microsoft.com/office/drawing/2014/main" id="{524DDB5D-2C36-2D8F-EE1D-A2D0A61EFFA9}"/>
              </a:ext>
            </a:extLst>
          </p:cNvPr>
          <p:cNvSpPr txBox="1">
            <a:spLocks/>
          </p:cNvSpPr>
          <p:nvPr/>
        </p:nvSpPr>
        <p:spPr>
          <a:xfrm>
            <a:off x="719442" y="1850628"/>
            <a:ext cx="5186426" cy="5952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sz="2400" b="0"/>
              <a:t>Wonders </a:t>
            </a:r>
            <a:r>
              <a:rPr lang="de-DE" sz="2400" b="0" err="1"/>
              <a:t>of</a:t>
            </a:r>
            <a:r>
              <a:rPr lang="de-DE" sz="2400" b="0"/>
              <a:t> Moving </a:t>
            </a:r>
            <a:r>
              <a:rPr lang="de-DE" sz="2400" b="0" err="1"/>
              <a:t>Water</a:t>
            </a:r>
            <a:endParaRPr lang="de-DE" sz="2400" b="0"/>
          </a:p>
        </p:txBody>
      </p:sp>
      <p:sp>
        <p:nvSpPr>
          <p:cNvPr id="2" name="Untertitel 3">
            <a:extLst>
              <a:ext uri="{FF2B5EF4-FFF2-40B4-BE49-F238E27FC236}">
                <a16:creationId xmlns:a16="http://schemas.microsoft.com/office/drawing/2014/main" id="{BF4A43F6-3684-F5A5-85F1-EEDC996D624E}"/>
              </a:ext>
            </a:extLst>
          </p:cNvPr>
          <p:cNvSpPr txBox="1">
            <a:spLocks/>
          </p:cNvSpPr>
          <p:nvPr/>
        </p:nvSpPr>
        <p:spPr>
          <a:xfrm>
            <a:off x="719442" y="2945073"/>
            <a:ext cx="5944510" cy="566443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200"/>
              <a:t>By the end of this chapter, you will:</a:t>
            </a:r>
          </a:p>
          <a:p>
            <a:pPr marL="139700" indent="0"/>
            <a:endParaRPr lang="en-US" sz="1200"/>
          </a:p>
          <a:p>
            <a:pPr marL="368300" indent="-228600">
              <a:buClr>
                <a:schemeClr val="accent5"/>
              </a:buClr>
              <a:buSzPct val="121000"/>
              <a:buFont typeface="+mj-lt"/>
              <a:buAutoNum type="arabicPeriod"/>
            </a:pPr>
            <a:r>
              <a:rPr lang="en-US" sz="1200" b="1"/>
              <a:t>Understand the Essentials of Hydropower</a:t>
            </a:r>
            <a:r>
              <a:rPr lang="en-US" sz="1200"/>
              <a:t>: Gain a solid grasp of the geographical locations and natural conditions that make hydropower possible.</a:t>
            </a:r>
          </a:p>
          <a:p>
            <a:pPr marL="368300" indent="-228600">
              <a:buClr>
                <a:schemeClr val="accent5"/>
              </a:buClr>
              <a:buSzPct val="121000"/>
              <a:buFont typeface="+mj-lt"/>
              <a:buAutoNum type="arabicPeriod"/>
            </a:pPr>
            <a:r>
              <a:rPr lang="en-US" sz="1200" b="1"/>
              <a:t>Discover the Power of Rivers</a:t>
            </a:r>
            <a:r>
              <a:rPr lang="en-US" sz="1200"/>
              <a:t>: Learn how rivers, with their dynamic flows and diverse conditions, play a critical role in generating hydropower.</a:t>
            </a:r>
          </a:p>
          <a:p>
            <a:pPr marL="368300" indent="-228600">
              <a:buClr>
                <a:schemeClr val="accent5"/>
              </a:buClr>
              <a:buSzPct val="121000"/>
              <a:buFont typeface="+mj-lt"/>
              <a:buAutoNum type="arabicPeriod"/>
            </a:pPr>
            <a:r>
              <a:rPr lang="en-US" sz="1200" b="1"/>
              <a:t>Dive into Ocean Energy</a:t>
            </a:r>
            <a:r>
              <a:rPr lang="en-US" sz="1200"/>
              <a:t>: Explore the fascinating motion of tides and waves and see how innovative systems harness their immense energy potential.</a:t>
            </a:r>
          </a:p>
          <a:p>
            <a:pPr marL="368300" indent="-228600">
              <a:buClr>
                <a:schemeClr val="accent5"/>
              </a:buClr>
              <a:buSzPct val="121000"/>
              <a:buFont typeface="+mj-lt"/>
              <a:buAutoNum type="arabicPeriod"/>
            </a:pPr>
            <a:r>
              <a:rPr lang="en-US" sz="1200" b="1"/>
              <a:t>Harness the Energy of Mountains</a:t>
            </a:r>
            <a:r>
              <a:rPr lang="en-US" sz="1200"/>
              <a:t>: Investigate how falling water in mountainous regions transforms potential energy into kinetic energy, driving turbines like water wheels to produce electricity.</a:t>
            </a:r>
          </a:p>
          <a:p>
            <a:pPr marL="368300" indent="-228600">
              <a:buClr>
                <a:schemeClr val="accent5"/>
              </a:buClr>
              <a:buSzPct val="121000"/>
              <a:buFont typeface="+mj-lt"/>
              <a:buAutoNum type="arabicPeriod"/>
            </a:pPr>
            <a:r>
              <a:rPr lang="en-US" sz="1200" b="1"/>
              <a:t>Marvel at Dams and Reservoirs</a:t>
            </a:r>
            <a:r>
              <a:rPr lang="en-US" sz="1200"/>
              <a:t>: Delve into the construction of colossal dams and reservoirs, understanding how they control water flow and fuel large-scale energy production.</a:t>
            </a:r>
          </a:p>
          <a:p>
            <a:pPr marL="368300" indent="-228600">
              <a:buClr>
                <a:schemeClr val="accent5"/>
              </a:buClr>
              <a:buSzPct val="121000"/>
              <a:buFont typeface="+mj-lt"/>
              <a:buAutoNum type="arabicPeriod"/>
            </a:pPr>
            <a:r>
              <a:rPr lang="en-US" sz="1200" b="1"/>
              <a:t>Environmental Impacts of Moving Water</a:t>
            </a:r>
            <a:r>
              <a:rPr lang="en-US" sz="1200"/>
              <a:t>: Gain fundamental insights into how moving water shapes the land and interacts with ecosystems around it.</a:t>
            </a:r>
          </a:p>
          <a:p>
            <a:pPr marL="139700" indent="0"/>
            <a:endParaRPr lang="en-US" sz="1200"/>
          </a:p>
          <a:p>
            <a:pPr marL="139700" indent="0"/>
            <a:r>
              <a:rPr lang="en-US" sz="1200"/>
              <a:t>By the end of this chapter, you’ll be empowered with foundational knowledge about water energy systems, ready to make informed decisions about optimizing their performance and understanding their role in a sustainable energy future!</a:t>
            </a:r>
          </a:p>
          <a:p>
            <a:pPr marL="139700" indent="0"/>
            <a:endParaRPr lang="en-US" sz="1200"/>
          </a:p>
        </p:txBody>
      </p:sp>
      <p:sp>
        <p:nvSpPr>
          <p:cNvPr id="3" name="Untertitel 5">
            <a:extLst>
              <a:ext uri="{FF2B5EF4-FFF2-40B4-BE49-F238E27FC236}">
                <a16:creationId xmlns:a16="http://schemas.microsoft.com/office/drawing/2014/main" id="{F6F5A270-E5B3-1C34-7F0A-AEC95FE0FDDA}"/>
              </a:ext>
            </a:extLst>
          </p:cNvPr>
          <p:cNvSpPr txBox="1">
            <a:spLocks/>
          </p:cNvSpPr>
          <p:nvPr/>
        </p:nvSpPr>
        <p:spPr>
          <a:xfrm>
            <a:off x="719442" y="259759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a:lnSpc>
                <a:spcPct val="114999"/>
              </a:lnSpc>
              <a:spcAft>
                <a:spcPts val="600"/>
              </a:spcAft>
              <a:buSzPts val="1400"/>
            </a:pPr>
            <a:r>
              <a:rPr lang="de-DE" sz="1500">
                <a:solidFill>
                  <a:srgbClr val="3B5775"/>
                </a:solidFill>
                <a:latin typeface="Epilogue" panose="020B0604020202020204" charset="0"/>
                <a:cs typeface="Epilogue" panose="020B0604020202020204" charset="0"/>
                <a:sym typeface="Sofia Sans"/>
              </a:rPr>
              <a:t>Learning </a:t>
            </a:r>
            <a:r>
              <a:rPr lang="de-DE" sz="1500" err="1">
                <a:solidFill>
                  <a:srgbClr val="3B5775"/>
                </a:solidFill>
                <a:latin typeface="Epilogue" panose="020B0604020202020204" charset="0"/>
                <a:cs typeface="Epilogue" panose="020B0604020202020204" charset="0"/>
                <a:sym typeface="Sofia Sans"/>
              </a:rPr>
              <a:t>Objective</a:t>
            </a:r>
            <a:endParaRPr lang="de-DE" sz="1500">
              <a:solidFill>
                <a:srgbClr val="3B5775"/>
              </a:solidFill>
              <a:latin typeface="Epilogue" panose="020B0604020202020204" charset="0"/>
              <a:cs typeface="Epilogue" panose="020B0604020202020204" charset="0"/>
              <a:sym typeface="Sofia Sans"/>
            </a:endParaRPr>
          </a:p>
        </p:txBody>
      </p:sp>
    </p:spTree>
    <p:extLst>
      <p:ext uri="{BB962C8B-B14F-4D97-AF65-F5344CB8AC3E}">
        <p14:creationId xmlns:p14="http://schemas.microsoft.com/office/powerpoint/2010/main" val="2457093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ectrical Energy and Power in Physics by Slidesgo">
  <a:themeElements>
    <a:clrScheme name="Simple Light">
      <a:dk1>
        <a:srgbClr val="333333"/>
      </a:dk1>
      <a:lt1>
        <a:srgbClr val="A15315"/>
      </a:lt1>
      <a:dk2>
        <a:srgbClr val="F5F3EF"/>
      </a:dk2>
      <a:lt2>
        <a:srgbClr val="CEA634"/>
      </a:lt2>
      <a:accent1>
        <a:srgbClr val="BD6762"/>
      </a:accent1>
      <a:accent2>
        <a:srgbClr val="97453F"/>
      </a:accent2>
      <a:accent3>
        <a:srgbClr val="63AA8A"/>
      </a:accent3>
      <a:accent4>
        <a:srgbClr val="315544"/>
      </a:accent4>
      <a:accent5>
        <a:srgbClr val="4E749C"/>
      </a:accent5>
      <a:accent6>
        <a:srgbClr val="BDC1C5"/>
      </a:accent6>
      <a:hlink>
        <a:srgbClr val="333333"/>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81540e7-131f-4e26-b2a0-b0b0a6619349">
      <Terms xmlns="http://schemas.microsoft.com/office/infopath/2007/PartnerControls"/>
    </lcf76f155ced4ddcb4097134ff3c332f>
    <TaxCatchAll xmlns="ecb5eb42-8f9c-4501-ae84-225180f68d1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A165D6A8B98D0F4FB158B27E667A45EA" ma:contentTypeVersion="12" ma:contentTypeDescription="Ein neues Dokument erstellen." ma:contentTypeScope="" ma:versionID="d646bc2ede1e097566c4056ec87e48a6">
  <xsd:schema xmlns:xsd="http://www.w3.org/2001/XMLSchema" xmlns:xs="http://www.w3.org/2001/XMLSchema" xmlns:p="http://schemas.microsoft.com/office/2006/metadata/properties" xmlns:ns2="181540e7-131f-4e26-b2a0-b0b0a6619349" xmlns:ns3="ecb5eb42-8f9c-4501-ae84-225180f68d18" targetNamespace="http://schemas.microsoft.com/office/2006/metadata/properties" ma:root="true" ma:fieldsID="9bc74f8044df099d418e379c7b2ffdd1" ns2:_="" ns3:_="">
    <xsd:import namespace="181540e7-131f-4e26-b2a0-b0b0a6619349"/>
    <xsd:import namespace="ecb5eb42-8f9c-4501-ae84-225180f68d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1540e7-131f-4e26-b2a0-b0b0a66193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14ae72d6-1d51-44e0-a414-869ae22c088a"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cb5eb42-8f9c-4501-ae84-225180f68d1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89a89f1-caae-47b2-9505-1c24c71c4b6a}" ma:internalName="TaxCatchAll" ma:showField="CatchAllData" ma:web="ecb5eb42-8f9c-4501-ae84-225180f68d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7342551-19C1-4ACD-A17E-0964D2B2E147}">
  <ds:schemaRefs>
    <ds:schemaRef ds:uri="http://schemas.microsoft.com/sharepoint/v3/contenttype/forms"/>
  </ds:schemaRefs>
</ds:datastoreItem>
</file>

<file path=customXml/itemProps2.xml><?xml version="1.0" encoding="utf-8"?>
<ds:datastoreItem xmlns:ds="http://schemas.openxmlformats.org/officeDocument/2006/customXml" ds:itemID="{9BB26B82-AD65-47F9-A15A-8B75F4BDE6CA}">
  <ds:schemaRefs>
    <ds:schemaRef ds:uri="http://www.w3.org/XML/1998/namespace"/>
    <ds:schemaRef ds:uri="http://schemas.openxmlformats.org/package/2006/metadata/core-properties"/>
    <ds:schemaRef ds:uri="http://schemas.microsoft.com/office/2006/documentManagement/types"/>
    <ds:schemaRef ds:uri="http://purl.org/dc/terms/"/>
    <ds:schemaRef ds:uri="181540e7-131f-4e26-b2a0-b0b0a6619349"/>
    <ds:schemaRef ds:uri="ecb5eb42-8f9c-4501-ae84-225180f68d18"/>
    <ds:schemaRef ds:uri="http://purl.org/dc/elements/1.1/"/>
    <ds:schemaRef ds:uri="http://schemas.microsoft.com/office/infopath/2007/PartnerControl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E89A9812-8EBC-468D-BE6D-F5DE39966E89}">
  <ds:schemaRefs>
    <ds:schemaRef ds:uri="181540e7-131f-4e26-b2a0-b0b0a6619349"/>
    <ds:schemaRef ds:uri="ecb5eb42-8f9c-4501-ae84-225180f68d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6445</Words>
  <Application>Microsoft Macintosh PowerPoint</Application>
  <PresentationFormat>Benutzerdefiniert</PresentationFormat>
  <Paragraphs>1522</Paragraphs>
  <Slides>84</Slides>
  <Notes>10</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84</vt:i4>
      </vt:variant>
    </vt:vector>
  </HeadingPairs>
  <TitlesOfParts>
    <vt:vector size="99" baseType="lpstr">
      <vt:lpstr>Nunito Light</vt:lpstr>
      <vt:lpstr>Aptos,Sans-Serif</vt:lpstr>
      <vt:lpstr>Sofia Sans</vt:lpstr>
      <vt:lpstr>Times</vt:lpstr>
      <vt:lpstr>Symbol</vt:lpstr>
      <vt:lpstr>Epilogue</vt:lpstr>
      <vt:lpstr>Wingdings</vt:lpstr>
      <vt:lpstr>Inter</vt:lpstr>
      <vt:lpstr>Anaheim</vt:lpstr>
      <vt:lpstr>Aptos</vt:lpstr>
      <vt:lpstr>Times New Roman</vt:lpstr>
      <vt:lpstr>Arial</vt:lpstr>
      <vt:lpstr>Courier New</vt:lpstr>
      <vt:lpstr>Electrical Energy and Power in Physics by Slidesgo</vt:lpstr>
      <vt:lpstr>think-cell Folie</vt:lpstr>
      <vt:lpstr>PowerPoint-Präsentation</vt:lpstr>
      <vt:lpstr>Introduction</vt:lpstr>
      <vt:lpstr>PowerPoint-Präsentation</vt:lpstr>
      <vt:lpstr>Table of Contents</vt:lpstr>
      <vt:lpstr>Why is Hydro-Energy important?</vt:lpstr>
      <vt:lpstr>PowerPoint-Präsentation</vt:lpstr>
      <vt:lpstr>PowerPoint-Präsentation</vt:lpstr>
      <vt:lpstr>Hydro Energy Education HUB Chapter 1</vt:lpstr>
      <vt:lpstr>Basics</vt:lpstr>
      <vt:lpstr>Where is Hydro Energy found?</vt:lpstr>
      <vt:lpstr>PowerPoint-Präsentation</vt:lpstr>
      <vt:lpstr>PowerPoint-Präsentation</vt:lpstr>
      <vt:lpstr>PowerPoint-Präsentation</vt:lpstr>
      <vt:lpstr>PowerPoint-Präsentation</vt:lpstr>
      <vt:lpstr>PowerPoint-Präsentation</vt:lpstr>
      <vt:lpstr>1. Rivers</vt:lpstr>
      <vt:lpstr>PowerPoint-Präsentation</vt:lpstr>
      <vt:lpstr>PowerPoint-Präsentation</vt:lpstr>
      <vt:lpstr>PowerPoint-Präsentation</vt:lpstr>
      <vt:lpstr>PowerPoint-Präsentation</vt:lpstr>
      <vt:lpstr>2. Ocean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5. Environmental Impacts Game</vt:lpstr>
      <vt:lpstr>Environmental Impacts Game: Initial Setup</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ydro Energy Education HUB Chapter 2</vt:lpstr>
      <vt:lpstr>Craft Your Own Water Whee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ydro Education HUB Chapter 3</vt:lpstr>
      <vt:lpstr>Factors affecting turbine – Pelton turbine experiment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ow to use a Multimeter</vt:lpstr>
      <vt:lpstr>PowerPoint-Präsentation</vt:lpstr>
      <vt:lpstr>PowerPoint-Präsentation</vt:lpstr>
      <vt:lpstr>PowerPoint-Präsentation</vt:lpstr>
      <vt:lpstr>PowerPoint-Präsentation</vt:lpstr>
      <vt:lpstr>Hydro Energy Education HUB Chapter 4</vt:lpstr>
      <vt:lpstr>1. Baseload and Reliability of PV, Wind and Hydro Energy</vt:lpstr>
      <vt:lpstr>PowerPoint-Präsentation</vt:lpstr>
      <vt:lpstr>PowerPoint-Präsentation</vt:lpstr>
      <vt:lpstr>2. Energy Balancing Game  Generation = Demand!?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Design an energy grid game</vt:lpstr>
      <vt:lpstr>PowerPoint-Präsentation</vt:lpstr>
      <vt:lpstr>PowerPoint-Präsentation</vt:lpstr>
      <vt:lpstr>PowerPoint-Präsentation</vt:lpstr>
      <vt:lpstr>Well done!</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V  in Physics</dc:title>
  <dc:creator>Sefa Sert</dc:creator>
  <cp:lastModifiedBy>Magdalena Huber</cp:lastModifiedBy>
  <cp:revision>1</cp:revision>
  <dcterms:modified xsi:type="dcterms:W3CDTF">2025-07-19T11:2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65D6A8B98D0F4FB158B27E667A45EA</vt:lpwstr>
  </property>
  <property fmtid="{D5CDD505-2E9C-101B-9397-08002B2CF9AE}" pid="3" name="MediaServiceImageTags">
    <vt:lpwstr/>
  </property>
</Properties>
</file>